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1012" r:id="rId3"/>
    <p:sldId id="2076136609" r:id="rId4"/>
    <p:sldId id="2076136615" r:id="rId5"/>
    <p:sldId id="2076136616" r:id="rId6"/>
    <p:sldId id="2076136614" r:id="rId7"/>
    <p:sldId id="257" r:id="rId8"/>
    <p:sldId id="3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8CB974-825C-42AF-AD7B-9DA299D7CEDC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B14122-8F43-4146-A99D-B660EBAE5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437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808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954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4D35E-7469-4A6C-85A7-FB1753198181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33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B6F9-A68F-4E63-83A5-F500E2796E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3A3B3-3C83-4AF0-B5CD-843A8CB63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A3F8C-C1C5-420C-B46A-CCEF97447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010076-0EB2-4D45-A4AB-F676924A4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763A5-6315-43A1-85DF-4FD5CF1B4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108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4593C-5FDE-4C65-9A1D-33551AC0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A5EF9E-7B7C-4511-9D9F-535DE118EC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E1B68-1194-47A5-88AE-EAF40D094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02EA36-31FE-4AEC-B3DC-87ED125A2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C003E-B7F6-465A-99EE-1FDDE4C6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305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1222A0-6B73-4B5A-9A2B-54A5336267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0FCA5E-182A-4411-BF61-7B5317D5E1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7DAC8-5C08-4114-8653-9D954A87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5BC70-367E-48B7-8D5B-8E620D348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4F279D-5D19-49BF-9D47-063ACA146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60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DCF23E2-B2CF-4123-BA2E-97794F8B2A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2935E503-BB2E-4844-930F-8E2258DE6BA7}"/>
              </a:ext>
            </a:extLst>
          </p:cNvPr>
          <p:cNvSpPr txBox="1">
            <a:spLocks/>
          </p:cNvSpPr>
          <p:nvPr userDrawn="1"/>
        </p:nvSpPr>
        <p:spPr>
          <a:xfrm>
            <a:off x="595325" y="6435726"/>
            <a:ext cx="3656000" cy="2412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  <a:latin typeface="Museo Sans 500" panose="02000000000000000000" pitchFamily="50" charset="0"/>
              </a:rPr>
              <a:t>Confidential – Do Not Distribute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16D35B5C-5742-4D60-8488-1DA3C6A94E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325" y="785999"/>
            <a:ext cx="2480429" cy="86913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F2247E-27C1-4975-BE3D-D8D9FA2D2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2721114"/>
            <a:ext cx="7650171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none" lIns="182880" tIns="91440" rIns="182880" b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title style line one</a:t>
            </a:r>
          </a:p>
        </p:txBody>
      </p:sp>
      <p:sp>
        <p:nvSpPr>
          <p:cNvPr id="15" name="Text Placeholder 39">
            <a:extLst>
              <a:ext uri="{FF2B5EF4-FFF2-40B4-BE49-F238E27FC236}">
                <a16:creationId xmlns:a16="http://schemas.microsoft.com/office/drawing/2014/main" id="{0C851371-A1E2-4F9A-8E7B-79510A02C1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3430114"/>
            <a:ext cx="7667805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vert="horz" wrap="none" lIns="182880" tIns="0" rIns="182880" bIns="91440" rtlCol="0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4000" smtClean="0">
                <a:solidFill>
                  <a:schemeClr val="bg1">
                    <a:lumMod val="95000"/>
                  </a:schemeClr>
                </a:solidFill>
                <a:latin typeface="Museo Sans 700" panose="02000000000000000000" pitchFamily="50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331506" lvl="0" indent="-571500" defTabSz="914400">
              <a:spcBef>
                <a:spcPct val="0"/>
              </a:spcBef>
            </a:pPr>
            <a:r>
              <a:rPr lang="en-US"/>
              <a:t>Click to edit title style line two</a:t>
            </a:r>
          </a:p>
        </p:txBody>
      </p:sp>
      <p:sp>
        <p:nvSpPr>
          <p:cNvPr id="16" name="Text Placeholder 42">
            <a:extLst>
              <a:ext uri="{FF2B5EF4-FFF2-40B4-BE49-F238E27FC236}">
                <a16:creationId xmlns:a16="http://schemas.microsoft.com/office/drawing/2014/main" id="{FD9957C8-3B94-4311-9CDD-07E125C4C8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101" y="4300981"/>
            <a:ext cx="448151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2400" smtClean="0">
                <a:solidFill>
                  <a:schemeClr val="bg1"/>
                </a:solidFill>
                <a:latin typeface="Museo Sans 700" panose="02000000000000000000" pitchFamily="50" charset="0"/>
              </a:defRPr>
            </a:lvl1pPr>
            <a:lvl2pPr marL="217206" indent="0">
              <a:buNone/>
              <a:defRPr lang="en-US" sz="1800" smtClean="0">
                <a:latin typeface="+mn-lt"/>
              </a:defRPr>
            </a:lvl2pPr>
            <a:lvl3pPr marL="674406" indent="0">
              <a:buNone/>
              <a:defRPr lang="en-US" sz="1800" smtClean="0">
                <a:latin typeface="+mn-lt"/>
              </a:defRPr>
            </a:lvl3pPr>
            <a:lvl4pPr marL="1131606" indent="0">
              <a:buNone/>
              <a:defRPr lang="en-US" sz="1800" smtClean="0">
                <a:latin typeface="+mn-lt"/>
              </a:defRPr>
            </a:lvl4pPr>
            <a:lvl5pPr marL="1588806" indent="0">
              <a:buNone/>
              <a:defRPr lang="en-US" sz="1800">
                <a:latin typeface="+mn-lt"/>
              </a:defRPr>
            </a:lvl5pPr>
          </a:lstStyle>
          <a:p>
            <a:pPr marL="0" lvl="0" defTabSz="914400">
              <a:lnSpc>
                <a:spcPct val="90000"/>
              </a:lnSpc>
            </a:pPr>
            <a:r>
              <a:rPr lang="en-US"/>
              <a:t>Click to edit subtitle style</a:t>
            </a:r>
          </a:p>
        </p:txBody>
      </p:sp>
      <p:sp>
        <p:nvSpPr>
          <p:cNvPr id="17" name="Text Placeholder 48">
            <a:extLst>
              <a:ext uri="{FF2B5EF4-FFF2-40B4-BE49-F238E27FC236}">
                <a16:creationId xmlns:a16="http://schemas.microsoft.com/office/drawing/2014/main" id="{71285375-EB4F-4BF6-AF33-27574858AB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3101" y="5138676"/>
            <a:ext cx="1352871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48">
            <a:extLst>
              <a:ext uri="{FF2B5EF4-FFF2-40B4-BE49-F238E27FC236}">
                <a16:creationId xmlns:a16="http://schemas.microsoft.com/office/drawing/2014/main" id="{9E314FA5-993F-44CA-8431-EAF2E0AF9B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101" y="5407094"/>
            <a:ext cx="402354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48">
            <a:extLst>
              <a:ext uri="{FF2B5EF4-FFF2-40B4-BE49-F238E27FC236}">
                <a16:creationId xmlns:a16="http://schemas.microsoft.com/office/drawing/2014/main" id="{7D83F08C-9D29-4FDD-9524-0646CB3C7B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101" y="5677299"/>
            <a:ext cx="916918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4086950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A69C8C3-5EEC-47F6-AA97-D185327B1E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99"/>
            <a:ext cx="7248128" cy="68691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359B3A6-C89C-4D70-AB9B-67C7B7555A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414D78C-DF35-47AB-8498-E59396D2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79" y="4266802"/>
            <a:ext cx="5579336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6DAB993F-6BE3-4C3D-88F7-542C6DE6A7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66028" y="5244247"/>
            <a:ext cx="5272629" cy="843416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marL="0" indent="0" algn="l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81958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0EB3FF-61A4-4B44-B9A9-3CA11EC6B2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544D00-F7FB-411C-BCB0-82343F5F2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762365B-EBFA-45AC-BFEB-1B5F3FA7E2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41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218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D4FAB5-5487-481C-A6EC-1415BDD5F0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24513" y="634269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4DA29D-5429-490E-A10A-A3739D32E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5270C3A8-DB33-48BD-AD12-2EB2722129F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11376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8C33E-1D1F-4CD9-8865-B79EDCACE1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11376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180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4F3F10-18A4-4713-85FF-39243B4A6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7024F9-F929-4850-B8F4-384D9DAEB3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224D24-BFD4-4A97-B597-D19E0B175C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BE373216-162C-421C-B668-582E7AA643F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2452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F8F875-6BDD-4E35-9FB9-7637B1BAD2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C116F8B-FEB1-4D1D-BD75-7BDD5684EF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62452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999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lac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A04B7A-0380-4451-9911-BD5D2FB09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A9033C-F8DC-4243-9694-3897CF69F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6F8853DC-DE9E-4EE7-B42B-94AC685D66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6209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7A6F09-2292-4F8C-88BA-A7388D7A1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82B26-A2B6-404D-883F-D72A4D685B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E36AC97-4A7D-4F80-B6D5-56188B810E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43A7C7-7AA5-4EE3-972B-9C3BF3318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8" y="6032767"/>
            <a:ext cx="1926535" cy="82475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2239215-678F-3A44-A2DF-A736D8C07E25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25983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AD37AD-FD45-4245-B47E-F98815B4D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E66A6DE4-5CE8-4AE9-A4BA-E2F62AA9587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BDF6234-08C3-B04F-98F3-23720139A9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75CAA5-556C-8749-8633-1C070E13A6E6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4246786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5E75D-6638-4A9E-AB9D-BBA6A87E6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D3B03-C421-4490-83A2-7DCDF4832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622EC-4733-4C72-87C7-01B0ED575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B34DF7-00C6-4D2E-9349-CB1DB2839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C9A38E-8AD5-4A04-B88C-37836FF78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78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8F93E6-D3A2-5D47-842A-18350A945EC7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65280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55743C-63EF-7141-BEFF-85A61AD462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7288C0-1DE2-5647-BC86-5713527504D8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1081664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80FB844-9013-4E48-AFA8-CBE643D91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F054BC-483E-4427-B4F4-5886DC2D5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069FAF-E5FC-4B93-8BE2-9188DA1779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10ABF4-B67B-4C46-B69E-37E2F95970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956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92ADAC1-B10E-40F7-8668-B43194F0D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245333" cy="688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09E717-D83B-418E-9DE9-90E038F79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1C539F-6DF9-49C5-A8ED-2A722E9155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353A46D-DCDD-4F75-A326-B8D5B02543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877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29BE56C-566C-4182-8D0C-12BEB0DFAA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C5524A-ECE9-44DE-8AAC-13E1F0772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7E64FA4-7D1D-4EF3-91CF-F205105CBB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ADEA58-E2C9-4AA2-BB5C-FA31C6168F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476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5F2CB1B-146B-49CB-BE55-5D621F0CF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09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89F340-9AE5-48F4-9CAA-71BD22164D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7555E56-5B5D-4610-847C-A96DFE835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EB91C2B-677B-4570-BE46-F40AE25987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C708E-DC49-4662-8186-D4D7AFAD2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572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 be gre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A105FF-46B8-1749-8D83-0568B4577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138" y="2712242"/>
            <a:ext cx="7451725" cy="143352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D05060-20D8-4CBD-9DDB-5BD05A49D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323" y="640980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574208-4516-4E83-A5E0-1E5E92D85A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1856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720383" y="3069000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704527" y="3069000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688671" y="306900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72815" y="3069000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56959" y="3069000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6641103" y="3069000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625247" y="3069000"/>
            <a:ext cx="720000" cy="72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609391" y="3069000"/>
            <a:ext cx="720000" cy="7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593531" y="3069000"/>
            <a:ext cx="720000" cy="720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F95193F-5A0D-4286-8685-0CA059AC9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3399B28-ECBF-46DA-8538-D1EBB20588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4000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B2430A0-49E2-4429-BDA6-A09B995FC2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48000" y="6384000"/>
            <a:ext cx="336000" cy="240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fld id="{2122FD65-2F4C-4CEB-9281-B3C7D2CCE5C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6020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40D744F-C38A-43DC-BAF1-C670FA0EB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7248128" cy="68691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2D11C2-CA22-44E4-AF2A-F9F47A462D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7791C64-33CA-41DF-B3F3-D2BAE5CF2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80" y="4266802"/>
            <a:ext cx="5332529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6102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770B8-FAC2-4D9E-959E-55937F9AD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FA3DFA-73A0-4E12-B7FF-A3F07C5F7D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8DCAD-9CF4-4EAD-B074-D18292F0A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9168E-B34D-497D-AB79-DCA79B72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6893B-80D4-47F0-B91C-A4E8AC936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3397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5E28A2-0755-254F-86FC-0D460BA48DDF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b="0" i="0" kern="0">
              <a:solidFill>
                <a:sysClr val="window" lastClr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7B68E1C-78B0-BC47-ABCC-AEE27892A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>
            <a:normAutofit/>
          </a:bodyPr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F0FC7A-EEA5-CF46-8786-299CB6E60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Automation Anywhere | Confidential – Do Not Distribu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1CE64A-596D-BF41-96B7-0A116EF94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401" y="1333501"/>
            <a:ext cx="11391900" cy="4381500"/>
          </a:xfrm>
        </p:spPr>
        <p:txBody>
          <a:bodyPr/>
          <a:lstStyle>
            <a:lvl5pPr marL="1199941" marR="0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ix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ight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Ninth level</a:t>
            </a:r>
          </a:p>
          <a:p>
            <a:pPr lvl="4"/>
            <a:endParaRPr lang="en-US"/>
          </a:p>
          <a:p>
            <a:pPr lvl="4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DFC075-CEE6-6448-A984-7D62E5567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33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8DE237-24D8-4142-967A-FFFB3D014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43"/>
            <a:ext cx="12192000" cy="68461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4488EB-6ACD-224B-9A8D-721DF4671AC9}"/>
              </a:ext>
            </a:extLst>
          </p:cNvPr>
          <p:cNvSpPr/>
          <p:nvPr userDrawn="1"/>
        </p:nvSpPr>
        <p:spPr>
          <a:xfrm>
            <a:off x="0" y="-1"/>
            <a:ext cx="12302836" cy="6947065"/>
          </a:xfrm>
          <a:prstGeom prst="rect">
            <a:avLst/>
          </a:prstGeom>
          <a:solidFill>
            <a:srgbClr val="34314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Museo Sans 500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64CD1A-BD81-D743-9769-3F22EF7276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773" y="6028042"/>
            <a:ext cx="1938680" cy="82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0334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5999"/>
            <a:ext cx="10080000" cy="2286503"/>
          </a:xfrm>
        </p:spPr>
        <p:txBody>
          <a:bodyPr/>
          <a:lstStyle>
            <a:lvl1pPr>
              <a:defRPr sz="5467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176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23572-1FCC-4CE2-AA1C-E01AD85F67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4D3EA9-C532-4B22-A309-C44CB92A9C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2C86B4-A66E-4FE1-A21F-79B91D829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FF1E-4C8E-42BA-AFFC-DE3E71B5451A}" type="datetimeFigureOut">
              <a:rPr lang="en-IN" smtClean="0"/>
              <a:t>01-06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AE95C-46B6-488C-B581-B3FA6FD88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170B1F-18BA-473F-84ED-3AB6CBEDF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B9720-7F04-42EF-95EE-BF6A982113B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7636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3D728-74F9-4D2B-9E49-A019F877C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F07D89-7036-49FF-876C-8BF9B3B5F7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6049AF-E276-439E-9CAC-21BA488BF7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49FF3-DE23-4F1F-94A3-3B4B2744F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F22F8-C3A1-44C4-9331-6616478C8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9A4055-60DC-4022-A5D4-F58E550A3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43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1D758-68E6-43DF-9078-E487C44D0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7FC15-5457-4DF3-869A-5DE418D3B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6CDA55-AC4C-47A4-9116-3756511E64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44F2F2-0FEB-4DFE-9D72-5C2FF7CCCB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CAF5E2-1985-46ED-B733-DB91C92BBA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1A8237-6B6D-49BB-949F-3D5AC5A8E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C45865-FFF6-4438-9411-3BF348375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AD05C6-5677-4E7E-A9E0-CF8F2775D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04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77EB7-260B-46EC-BC84-CC37957C0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5A77B-15FB-43CF-97A3-6738A14B7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A47809-6493-42D3-825D-1BB90BF19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E1AA5E-8AC1-4353-88F7-4E7E86B3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61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9585F3-B9B6-4F8B-B412-264E3D324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343E0F-8C38-45B5-9C26-21390540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3EC2DF-92D6-4F5F-875A-4410F615F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559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B5160-C81D-45E1-BC1E-C764BCA39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6C90D-3190-4567-8F71-4D9E6A8126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BEE6A-845F-448B-B480-B31646917B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1082E-5445-4124-8FCD-95BC57F59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B05914-946E-4052-9BA2-9DC7A7493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2625D3-B3DF-44CC-B7DA-C5838572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231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8081-D63F-4C34-852F-6DE3A4F3F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C9C1B6-7B41-447B-9D0D-EF003FB058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9906E1-2612-42F9-A6AF-601FC50808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3CC920-E251-4DF1-B8A2-C9B09947F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5D9D9D-B10B-4F28-B9DE-E75DBBD16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06A8C1-2FDA-4DB0-A980-3BB4DF4A4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72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4164A-1CFE-4079-A5C1-8D901856A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AFE9A9-25CA-4983-9B30-77E46D8C8B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3FEE9-2A2A-4C83-9BE6-BBA5ADFFFA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B3C26-859F-4C34-93F1-E745FC688220}" type="datetimeFigureOut">
              <a:rPr lang="en-US" smtClean="0"/>
              <a:t>06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30847-73F9-4DDE-950E-4D9676004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F4407-92CB-4AEB-A5B8-0B030BD99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10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2775E-31FB-4753-A3F9-0864D3F15D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00" y="1320000"/>
            <a:ext cx="11376000" cy="4417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2D93A-0DC5-46BA-A06C-5240F2947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331EBF-7B6F-4889-BEF6-5FF5D52A191C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C951A7-AA4E-45FB-9393-920B6B341C3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6FE97-B3B9-45C8-A263-62B2488C0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8000" y="6356351"/>
            <a:ext cx="7745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© 2020 Automation Anywhere | Confidential – Do Not Distribu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2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2800" b="0" i="0" kern="1200">
          <a:solidFill>
            <a:schemeClr val="tx1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39994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1pPr>
      <a:lvl2pPr marL="479988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2pPr>
      <a:lvl3pPr marL="719982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0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3pPr>
      <a:lvl4pPr marL="959976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8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4pPr>
      <a:lvl5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5pPr>
      <a:lvl6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6pPr>
      <a:lvl7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7pPr>
      <a:lvl8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9">
          <p15:clr>
            <a:srgbClr val="F26B43"/>
          </p15:clr>
        </p15:guide>
        <p15:guide id="2" pos="256">
          <p15:clr>
            <a:srgbClr val="F26B43"/>
          </p15:clr>
        </p15:guide>
        <p15:guide id="3" pos="7424">
          <p15:clr>
            <a:srgbClr val="F26B43"/>
          </p15:clr>
        </p15:guide>
        <p15:guide id="4" pos="3733">
          <p15:clr>
            <a:srgbClr val="F26B43"/>
          </p15:clr>
        </p15:guide>
        <p15:guide id="5" pos="39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sv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svg"/><Relationship Id="rId25" Type="http://schemas.openxmlformats.org/officeDocument/2006/relationships/image" Target="../media/image40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image" Target="../media/image39.jpe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jpeg"/><Relationship Id="rId10" Type="http://schemas.openxmlformats.org/officeDocument/2006/relationships/image" Target="../media/image25.emf"/><Relationship Id="rId19" Type="http://schemas.openxmlformats.org/officeDocument/2006/relationships/image" Target="../media/image34.sv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Relationship Id="rId27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openxmlformats.org/officeDocument/2006/relationships/image" Target="../media/image45.svg"/><Relationship Id="rId10" Type="http://schemas.openxmlformats.org/officeDocument/2006/relationships/image" Target="../media/image49.jpeg"/><Relationship Id="rId4" Type="http://schemas.openxmlformats.org/officeDocument/2006/relationships/image" Target="../media/image44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9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47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0C5ADC-9374-4218-A5E5-F303A956C47C}"/>
              </a:ext>
            </a:extLst>
          </p:cNvPr>
          <p:cNvSpPr txBox="1"/>
          <p:nvPr/>
        </p:nvSpPr>
        <p:spPr>
          <a:xfrm>
            <a:off x="7189745" y="6316393"/>
            <a:ext cx="11092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May 2020 </a:t>
            </a:r>
            <a:endParaRPr lang="en-IN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B2CB32-0A5C-4BBA-9E2A-31BCEA833401}"/>
              </a:ext>
            </a:extLst>
          </p:cNvPr>
          <p:cNvSpPr/>
          <p:nvPr/>
        </p:nvSpPr>
        <p:spPr>
          <a:xfrm>
            <a:off x="269217" y="3136612"/>
            <a:ext cx="9630265" cy="58477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32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Intelligent Contact Center Solution - Banking</a:t>
            </a:r>
            <a:endParaRPr lang="da-DK" sz="32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0CACA-57AB-4464-BF4C-8D3298B7B18D}"/>
              </a:ext>
            </a:extLst>
          </p:cNvPr>
          <p:cNvSpPr/>
          <p:nvPr/>
        </p:nvSpPr>
        <p:spPr>
          <a:xfrm>
            <a:off x="269217" y="5374290"/>
            <a:ext cx="2535053" cy="83099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lak Sharma</a:t>
            </a:r>
          </a:p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ashant Kumar</a:t>
            </a:r>
            <a:endParaRPr lang="da-DK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1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Credit Card Replacement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BCED3AB-DFBE-48DC-B041-7E2CA73E745C}"/>
              </a:ext>
            </a:extLst>
          </p:cNvPr>
          <p:cNvSpPr txBox="1">
            <a:spLocks/>
          </p:cNvSpPr>
          <p:nvPr/>
        </p:nvSpPr>
        <p:spPr>
          <a:xfrm>
            <a:off x="163446" y="1273068"/>
            <a:ext cx="3931169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rmAutofit/>
          </a:bodyPr>
          <a:lstStyle>
            <a:lvl1pPr marL="24000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007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0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01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56" indent="-228603" algn="l" defTabSz="9144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urrent process (before COVID - 19)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Contact Center Agents work on target applications which have both PII and Non PII data. 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work out of Contact Centers behind secured firewall/network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manually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 work with multiple target application, </a:t>
            </a:r>
            <a:r>
              <a:rPr lang="en-US" sz="1200" dirty="0">
                <a:solidFill>
                  <a:srgbClr val="666666"/>
                </a:solidFill>
                <a:latin typeface="Museo Sans 300"/>
              </a:rPr>
              <a:t>that 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increases AHT and NPS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tegration of IVR systems with RPA platforms was difficult and a seamless end to end integration was usually complex limited the ROI for Automation projects.</a:t>
            </a: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23DDE34-2A36-43A6-B81D-ED3F07A43020}"/>
              </a:ext>
            </a:extLst>
          </p:cNvPr>
          <p:cNvSpPr txBox="1">
            <a:spLocks/>
          </p:cNvSpPr>
          <p:nvPr/>
        </p:nvSpPr>
        <p:spPr>
          <a:xfrm>
            <a:off x="4130400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hallenges due to COVID-19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are working from home on the same processes and applications and follow the same process (workflow, RDP, citrix login, etc.) from the office laptop/desktop which is now at home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t home, there are no physical/network security measures that can be enforced – Risk of Exposing PII Data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No real time monitoring to track agent’s performance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The network/technology issues further increase the AHT and have a negative impact on CSA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4E97500-2671-45E2-872D-DFB922814FD6}"/>
              </a:ext>
            </a:extLst>
          </p:cNvPr>
          <p:cNvSpPr txBox="1">
            <a:spLocks/>
          </p:cNvSpPr>
          <p:nvPr/>
        </p:nvSpPr>
        <p:spPr>
          <a:xfrm>
            <a:off x="8097385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Business Expectation </a:t>
            </a:r>
          </a:p>
          <a:p>
            <a:pPr marL="228609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Seamless integration of IVR integration with RPA platforms to do end to end automations and improve call center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gent should not directly access the target application or PII data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Front end component (Forms) on agent’s machine to communicate back and forth to the Remote Bot machines in real time. 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crease self service %, Reduce AHT, and improve customer (and agent) experience at all touch points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bility to work and perform under varying call volumes and changes to SOP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Get started faster. Reduce setup and training time by 90%</a:t>
            </a:r>
          </a:p>
        </p:txBody>
      </p:sp>
    </p:spTree>
    <p:extLst>
      <p:ext uri="{BB962C8B-B14F-4D97-AF65-F5344CB8AC3E}">
        <p14:creationId xmlns:p14="http://schemas.microsoft.com/office/powerpoint/2010/main" val="149794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Credit Card Replacement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C1105E-CE31-446E-BDDC-4EE1E58F7A8C}"/>
              </a:ext>
            </a:extLst>
          </p:cNvPr>
          <p:cNvSpPr txBox="1">
            <a:spLocks/>
          </p:cNvSpPr>
          <p:nvPr/>
        </p:nvSpPr>
        <p:spPr>
          <a:xfrm>
            <a:off x="362803" y="1204832"/>
            <a:ext cx="11340934" cy="3915808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Autofit/>
          </a:bodyPr>
          <a:lstStyle>
            <a:defPPr>
              <a:defRPr lang="en-US"/>
            </a:defPPr>
            <a:lvl1pPr marR="0" lvl="0" indent="0" algn="just" defTabSz="914413" fontAlgn="auto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</a:defRPr>
            </a:lvl1pPr>
            <a:lvl2pPr marL="480007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/>
            </a:lvl2pPr>
            <a:lvl3pPr marL="720010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/>
            </a:lvl3pPr>
            <a:lvl4pPr marL="960014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/>
            </a:lvl4pPr>
            <a:lvl5pPr marL="1200018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/>
            </a:lvl5pPr>
            <a:lvl6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6pPr>
            <a:lvl7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7pPr>
            <a:lvl8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8pPr>
            <a:lvl9pPr marL="3886256" indent="-228603" defTabSz="91441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000" dirty="0">
                <a:solidFill>
                  <a:schemeClr val="accent2"/>
                </a:solidFill>
              </a:rPr>
              <a:t>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Agent to use </a:t>
            </a:r>
            <a:r>
              <a:rPr lang="en-US" sz="1600" dirty="0">
                <a:solidFill>
                  <a:schemeClr val="accent2"/>
                </a:solidFill>
              </a:rPr>
              <a:t>Interactive Forms in A2019 </a:t>
            </a:r>
            <a:r>
              <a:rPr lang="en-US" sz="1600" b="0" dirty="0">
                <a:solidFill>
                  <a:schemeClr val="accent3"/>
                </a:solidFill>
              </a:rPr>
              <a:t>and deploy a bot via WLM technology on Remote Runner Machin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</a:t>
            </a:r>
            <a:r>
              <a:rPr lang="en-US" sz="1600" dirty="0">
                <a:solidFill>
                  <a:schemeClr val="accent2"/>
                </a:solidFill>
              </a:rPr>
              <a:t>Bots are integrated with the IVR and ACD </a:t>
            </a:r>
            <a:r>
              <a:rPr lang="en-US" sz="1600" b="0" dirty="0">
                <a:solidFill>
                  <a:schemeClr val="accent3"/>
                </a:solidFill>
              </a:rPr>
              <a:t>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elephony and CTI integrations with leading contact center vendors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Single pane view of all customer data </a:t>
            </a:r>
            <a:r>
              <a:rPr lang="en-US" sz="1600" b="0" dirty="0">
                <a:solidFill>
                  <a:schemeClr val="accent3"/>
                </a:solidFill>
              </a:rPr>
              <a:t>on one screen, using interactive for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Agent triggers bot to provide more information, or </a:t>
            </a:r>
            <a:r>
              <a:rPr lang="en-US" sz="1600" dirty="0">
                <a:solidFill>
                  <a:schemeClr val="accent2"/>
                </a:solidFill>
              </a:rPr>
              <a:t>update fields across multiple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Next-step-guidance is presented </a:t>
            </a:r>
            <a:r>
              <a:rPr lang="en-US" sz="1600" b="0" dirty="0">
                <a:solidFill>
                  <a:schemeClr val="accent3"/>
                </a:solidFill>
              </a:rPr>
              <a:t>to the agent, to eliminate errors and fraud, and improve upon trai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bot </a:t>
            </a:r>
            <a:r>
              <a:rPr lang="en-US" sz="1600" dirty="0">
                <a:solidFill>
                  <a:schemeClr val="accent2"/>
                </a:solidFill>
              </a:rPr>
              <a:t>auto completes the after-call work by setting reminders SMS, sending emails</a:t>
            </a:r>
            <a:r>
              <a:rPr lang="en-US" sz="1600" b="0" dirty="0">
                <a:solidFill>
                  <a:schemeClr val="accent3"/>
                </a:solidFill>
              </a:rPr>
              <a:t>, and updating multiple 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Enforce data privacy and Standard Operating procedures (SOP) </a:t>
            </a:r>
            <a:r>
              <a:rPr lang="en-US" sz="1600" b="0" dirty="0">
                <a:solidFill>
                  <a:schemeClr val="accent3"/>
                </a:solidFill>
              </a:rPr>
              <a:t>i.e. Agent will receive only Non-PII data from Bot for Validation and further usage. </a:t>
            </a:r>
          </a:p>
        </p:txBody>
      </p:sp>
    </p:spTree>
    <p:extLst>
      <p:ext uri="{BB962C8B-B14F-4D97-AF65-F5344CB8AC3E}">
        <p14:creationId xmlns:p14="http://schemas.microsoft.com/office/powerpoint/2010/main" val="2538158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92C11-96D8-4AD9-AF8B-6A7A6EDAB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192998"/>
            <a:ext cx="11376000" cy="480000"/>
          </a:xfrm>
        </p:spPr>
        <p:txBody>
          <a:bodyPr/>
          <a:lstStyle/>
          <a:p>
            <a:r>
              <a:rPr lang="en-US" dirty="0">
                <a:solidFill>
                  <a:srgbClr val="333333"/>
                </a:solidFill>
                <a:latin typeface="Museo Sans 700" panose="02000000000000000000" pitchFamily="50" charset="0"/>
              </a:rPr>
              <a:t>Solution and Architecture Desig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BB19E-C32B-4990-AE4D-73C0445809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6452" y="6501031"/>
            <a:ext cx="91440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1000" kern="1200" smtClean="0">
                <a:solidFill>
                  <a:schemeClr val="bg1">
                    <a:lumMod val="75000"/>
                  </a:schemeClr>
                </a:solidFill>
                <a:latin typeface="Museo Sans 500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dential – Do Not Distribute</a:t>
            </a:r>
          </a:p>
        </p:txBody>
      </p:sp>
      <p:grpSp>
        <p:nvGrpSpPr>
          <p:cNvPr id="4" name="object 21">
            <a:extLst>
              <a:ext uri="{FF2B5EF4-FFF2-40B4-BE49-F238E27FC236}">
                <a16:creationId xmlns:a16="http://schemas.microsoft.com/office/drawing/2014/main" id="{C63531C3-08D3-4EA5-8C71-E6C1F7F6FDB9}"/>
              </a:ext>
            </a:extLst>
          </p:cNvPr>
          <p:cNvGrpSpPr/>
          <p:nvPr/>
        </p:nvGrpSpPr>
        <p:grpSpPr>
          <a:xfrm>
            <a:off x="2426" y="2012284"/>
            <a:ext cx="717530" cy="716214"/>
            <a:chOff x="1889988" y="7370470"/>
            <a:chExt cx="936625" cy="936625"/>
          </a:xfrm>
        </p:grpSpPr>
        <p:sp>
          <p:nvSpPr>
            <p:cNvPr id="5" name="object 22">
              <a:extLst>
                <a:ext uri="{FF2B5EF4-FFF2-40B4-BE49-F238E27FC236}">
                  <a16:creationId xmlns:a16="http://schemas.microsoft.com/office/drawing/2014/main" id="{05CE283A-FBA7-40C1-A6B6-FA45E3F5BF53}"/>
                </a:ext>
              </a:extLst>
            </p:cNvPr>
            <p:cNvSpPr/>
            <p:nvPr/>
          </p:nvSpPr>
          <p:spPr>
            <a:xfrm>
              <a:off x="1889988" y="7370470"/>
              <a:ext cx="936625" cy="936625"/>
            </a:xfrm>
            <a:custGeom>
              <a:avLst/>
              <a:gdLst/>
              <a:ahLst/>
              <a:cxnLst/>
              <a:rect l="l" t="t" r="r" b="b"/>
              <a:pathLst>
                <a:path w="936625" h="936625">
                  <a:moveTo>
                    <a:pt x="468287" y="0"/>
                  </a:moveTo>
                  <a:lnTo>
                    <a:pt x="420408" y="2417"/>
                  </a:lnTo>
                  <a:lnTo>
                    <a:pt x="373912" y="9514"/>
                  </a:lnTo>
                  <a:lnTo>
                    <a:pt x="329034" y="21053"/>
                  </a:lnTo>
                  <a:lnTo>
                    <a:pt x="286010" y="36801"/>
                  </a:lnTo>
                  <a:lnTo>
                    <a:pt x="245075" y="56520"/>
                  </a:lnTo>
                  <a:lnTo>
                    <a:pt x="206465" y="79977"/>
                  </a:lnTo>
                  <a:lnTo>
                    <a:pt x="170415" y="106935"/>
                  </a:lnTo>
                  <a:lnTo>
                    <a:pt x="137160" y="137160"/>
                  </a:lnTo>
                  <a:lnTo>
                    <a:pt x="106935" y="170415"/>
                  </a:lnTo>
                  <a:lnTo>
                    <a:pt x="79977" y="206465"/>
                  </a:lnTo>
                  <a:lnTo>
                    <a:pt x="56520" y="245075"/>
                  </a:lnTo>
                  <a:lnTo>
                    <a:pt x="36801" y="286010"/>
                  </a:lnTo>
                  <a:lnTo>
                    <a:pt x="21053" y="329034"/>
                  </a:lnTo>
                  <a:lnTo>
                    <a:pt x="9514" y="373912"/>
                  </a:lnTo>
                  <a:lnTo>
                    <a:pt x="2417" y="420408"/>
                  </a:lnTo>
                  <a:lnTo>
                    <a:pt x="0" y="468287"/>
                  </a:lnTo>
                  <a:lnTo>
                    <a:pt x="2417" y="516165"/>
                  </a:lnTo>
                  <a:lnTo>
                    <a:pt x="9514" y="562661"/>
                  </a:lnTo>
                  <a:lnTo>
                    <a:pt x="21053" y="607538"/>
                  </a:lnTo>
                  <a:lnTo>
                    <a:pt x="36801" y="650561"/>
                  </a:lnTo>
                  <a:lnTo>
                    <a:pt x="56520" y="691495"/>
                  </a:lnTo>
                  <a:lnTo>
                    <a:pt x="79977" y="730104"/>
                  </a:lnTo>
                  <a:lnTo>
                    <a:pt x="106935" y="766153"/>
                  </a:lnTo>
                  <a:lnTo>
                    <a:pt x="137160" y="799407"/>
                  </a:lnTo>
                  <a:lnTo>
                    <a:pt x="170415" y="829631"/>
                  </a:lnTo>
                  <a:lnTo>
                    <a:pt x="206465" y="856588"/>
                  </a:lnTo>
                  <a:lnTo>
                    <a:pt x="245075" y="880043"/>
                  </a:lnTo>
                  <a:lnTo>
                    <a:pt x="286010" y="899762"/>
                  </a:lnTo>
                  <a:lnTo>
                    <a:pt x="329034" y="915508"/>
                  </a:lnTo>
                  <a:lnTo>
                    <a:pt x="373912" y="927047"/>
                  </a:lnTo>
                  <a:lnTo>
                    <a:pt x="420408" y="934143"/>
                  </a:lnTo>
                  <a:lnTo>
                    <a:pt x="468287" y="936561"/>
                  </a:lnTo>
                  <a:lnTo>
                    <a:pt x="516165" y="934143"/>
                  </a:lnTo>
                  <a:lnTo>
                    <a:pt x="562661" y="927047"/>
                  </a:lnTo>
                  <a:lnTo>
                    <a:pt x="607538" y="915508"/>
                  </a:lnTo>
                  <a:lnTo>
                    <a:pt x="650561" y="899762"/>
                  </a:lnTo>
                  <a:lnTo>
                    <a:pt x="691495" y="880043"/>
                  </a:lnTo>
                  <a:lnTo>
                    <a:pt x="730104" y="856588"/>
                  </a:lnTo>
                  <a:lnTo>
                    <a:pt x="766153" y="829631"/>
                  </a:lnTo>
                  <a:lnTo>
                    <a:pt x="799407" y="799407"/>
                  </a:lnTo>
                  <a:lnTo>
                    <a:pt x="829631" y="766153"/>
                  </a:lnTo>
                  <a:lnTo>
                    <a:pt x="856588" y="730104"/>
                  </a:lnTo>
                  <a:lnTo>
                    <a:pt x="880043" y="691495"/>
                  </a:lnTo>
                  <a:lnTo>
                    <a:pt x="899762" y="650561"/>
                  </a:lnTo>
                  <a:lnTo>
                    <a:pt x="915508" y="607538"/>
                  </a:lnTo>
                  <a:lnTo>
                    <a:pt x="927047" y="562661"/>
                  </a:lnTo>
                  <a:lnTo>
                    <a:pt x="934143" y="516165"/>
                  </a:lnTo>
                  <a:lnTo>
                    <a:pt x="936561" y="468287"/>
                  </a:lnTo>
                  <a:lnTo>
                    <a:pt x="934143" y="420408"/>
                  </a:lnTo>
                  <a:lnTo>
                    <a:pt x="927047" y="373912"/>
                  </a:lnTo>
                  <a:lnTo>
                    <a:pt x="915508" y="329034"/>
                  </a:lnTo>
                  <a:lnTo>
                    <a:pt x="899762" y="286010"/>
                  </a:lnTo>
                  <a:lnTo>
                    <a:pt x="880043" y="245075"/>
                  </a:lnTo>
                  <a:lnTo>
                    <a:pt x="856588" y="206465"/>
                  </a:lnTo>
                  <a:lnTo>
                    <a:pt x="829631" y="170415"/>
                  </a:lnTo>
                  <a:lnTo>
                    <a:pt x="799407" y="137160"/>
                  </a:lnTo>
                  <a:lnTo>
                    <a:pt x="766153" y="106935"/>
                  </a:lnTo>
                  <a:lnTo>
                    <a:pt x="730104" y="79977"/>
                  </a:lnTo>
                  <a:lnTo>
                    <a:pt x="691495" y="56520"/>
                  </a:lnTo>
                  <a:lnTo>
                    <a:pt x="650561" y="36801"/>
                  </a:lnTo>
                  <a:lnTo>
                    <a:pt x="607538" y="21053"/>
                  </a:lnTo>
                  <a:lnTo>
                    <a:pt x="562661" y="9514"/>
                  </a:lnTo>
                  <a:lnTo>
                    <a:pt x="516165" y="2417"/>
                  </a:lnTo>
                  <a:lnTo>
                    <a:pt x="468287" y="0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23">
              <a:extLst>
                <a:ext uri="{FF2B5EF4-FFF2-40B4-BE49-F238E27FC236}">
                  <a16:creationId xmlns:a16="http://schemas.microsoft.com/office/drawing/2014/main" id="{C03EB8AE-7AF2-40ED-B627-17AB0C1B22F4}"/>
                </a:ext>
              </a:extLst>
            </p:cNvPr>
            <p:cNvSpPr/>
            <p:nvPr/>
          </p:nvSpPr>
          <p:spPr>
            <a:xfrm>
              <a:off x="1998713" y="7464322"/>
              <a:ext cx="702945" cy="752475"/>
            </a:xfrm>
            <a:custGeom>
              <a:avLst/>
              <a:gdLst/>
              <a:ahLst/>
              <a:cxnLst/>
              <a:rect l="l" t="t" r="r" b="b"/>
              <a:pathLst>
                <a:path w="702944" h="752475">
                  <a:moveTo>
                    <a:pt x="565023" y="157022"/>
                  </a:moveTo>
                  <a:lnTo>
                    <a:pt x="557009" y="107403"/>
                  </a:lnTo>
                  <a:lnTo>
                    <a:pt x="534720" y="64300"/>
                  </a:lnTo>
                  <a:lnTo>
                    <a:pt x="500735" y="30302"/>
                  </a:lnTo>
                  <a:lnTo>
                    <a:pt x="457631" y="8013"/>
                  </a:lnTo>
                  <a:lnTo>
                    <a:pt x="408012" y="0"/>
                  </a:lnTo>
                  <a:lnTo>
                    <a:pt x="358381" y="8013"/>
                  </a:lnTo>
                  <a:lnTo>
                    <a:pt x="315277" y="30302"/>
                  </a:lnTo>
                  <a:lnTo>
                    <a:pt x="281292" y="64300"/>
                  </a:lnTo>
                  <a:lnTo>
                    <a:pt x="259003" y="107403"/>
                  </a:lnTo>
                  <a:lnTo>
                    <a:pt x="251002" y="157022"/>
                  </a:lnTo>
                  <a:lnTo>
                    <a:pt x="259003" y="206654"/>
                  </a:lnTo>
                  <a:lnTo>
                    <a:pt x="281292" y="249758"/>
                  </a:lnTo>
                  <a:lnTo>
                    <a:pt x="315277" y="283743"/>
                  </a:lnTo>
                  <a:lnTo>
                    <a:pt x="358381" y="306031"/>
                  </a:lnTo>
                  <a:lnTo>
                    <a:pt x="408012" y="314032"/>
                  </a:lnTo>
                  <a:lnTo>
                    <a:pt x="457631" y="306031"/>
                  </a:lnTo>
                  <a:lnTo>
                    <a:pt x="500735" y="283743"/>
                  </a:lnTo>
                  <a:lnTo>
                    <a:pt x="534720" y="249758"/>
                  </a:lnTo>
                  <a:lnTo>
                    <a:pt x="557009" y="206654"/>
                  </a:lnTo>
                  <a:lnTo>
                    <a:pt x="565023" y="157022"/>
                  </a:lnTo>
                  <a:close/>
                </a:path>
                <a:path w="702944" h="752475">
                  <a:moveTo>
                    <a:pt x="702856" y="546354"/>
                  </a:moveTo>
                  <a:lnTo>
                    <a:pt x="698157" y="499910"/>
                  </a:lnTo>
                  <a:lnTo>
                    <a:pt x="684682" y="456552"/>
                  </a:lnTo>
                  <a:lnTo>
                    <a:pt x="663384" y="417233"/>
                  </a:lnTo>
                  <a:lnTo>
                    <a:pt x="635203" y="382892"/>
                  </a:lnTo>
                  <a:lnTo>
                    <a:pt x="601065" y="354469"/>
                  </a:lnTo>
                  <a:lnTo>
                    <a:pt x="561924" y="332892"/>
                  </a:lnTo>
                  <a:lnTo>
                    <a:pt x="518706" y="319100"/>
                  </a:lnTo>
                  <a:lnTo>
                    <a:pt x="510514" y="324408"/>
                  </a:lnTo>
                  <a:lnTo>
                    <a:pt x="502069" y="329311"/>
                  </a:lnTo>
                  <a:lnTo>
                    <a:pt x="465975" y="344563"/>
                  </a:lnTo>
                  <a:lnTo>
                    <a:pt x="427710" y="352298"/>
                  </a:lnTo>
                  <a:lnTo>
                    <a:pt x="408012" y="353263"/>
                  </a:lnTo>
                  <a:lnTo>
                    <a:pt x="388302" y="352298"/>
                  </a:lnTo>
                  <a:lnTo>
                    <a:pt x="368960" y="349389"/>
                  </a:lnTo>
                  <a:lnTo>
                    <a:pt x="350037" y="344563"/>
                  </a:lnTo>
                  <a:lnTo>
                    <a:pt x="340499" y="341083"/>
                  </a:lnTo>
                  <a:lnTo>
                    <a:pt x="340499" y="552869"/>
                  </a:lnTo>
                  <a:lnTo>
                    <a:pt x="332409" y="557047"/>
                  </a:lnTo>
                  <a:lnTo>
                    <a:pt x="323507" y="564070"/>
                  </a:lnTo>
                  <a:lnTo>
                    <a:pt x="303606" y="583285"/>
                  </a:lnTo>
                  <a:lnTo>
                    <a:pt x="302729" y="583641"/>
                  </a:lnTo>
                  <a:lnTo>
                    <a:pt x="257251" y="558025"/>
                  </a:lnTo>
                  <a:lnTo>
                    <a:pt x="220002" y="525526"/>
                  </a:lnTo>
                  <a:lnTo>
                    <a:pt x="189382" y="486664"/>
                  </a:lnTo>
                  <a:lnTo>
                    <a:pt x="165646" y="440931"/>
                  </a:lnTo>
                  <a:lnTo>
                    <a:pt x="165950" y="439394"/>
                  </a:lnTo>
                  <a:lnTo>
                    <a:pt x="166116" y="439242"/>
                  </a:lnTo>
                  <a:lnTo>
                    <a:pt x="174282" y="454609"/>
                  </a:lnTo>
                  <a:lnTo>
                    <a:pt x="194221" y="483425"/>
                  </a:lnTo>
                  <a:lnTo>
                    <a:pt x="222885" y="515962"/>
                  </a:lnTo>
                  <a:lnTo>
                    <a:pt x="260159" y="547916"/>
                  </a:lnTo>
                  <a:lnTo>
                    <a:pt x="276847" y="556996"/>
                  </a:lnTo>
                  <a:lnTo>
                    <a:pt x="295148" y="561416"/>
                  </a:lnTo>
                  <a:lnTo>
                    <a:pt x="313918" y="560857"/>
                  </a:lnTo>
                  <a:lnTo>
                    <a:pt x="332016" y="555015"/>
                  </a:lnTo>
                  <a:lnTo>
                    <a:pt x="340499" y="552869"/>
                  </a:lnTo>
                  <a:lnTo>
                    <a:pt x="340499" y="341083"/>
                  </a:lnTo>
                  <a:lnTo>
                    <a:pt x="331609" y="337832"/>
                  </a:lnTo>
                  <a:lnTo>
                    <a:pt x="322656" y="333781"/>
                  </a:lnTo>
                  <a:lnTo>
                    <a:pt x="313944" y="329311"/>
                  </a:lnTo>
                  <a:lnTo>
                    <a:pt x="305498" y="324408"/>
                  </a:lnTo>
                  <a:lnTo>
                    <a:pt x="297319" y="319100"/>
                  </a:lnTo>
                  <a:lnTo>
                    <a:pt x="258610" y="331000"/>
                  </a:lnTo>
                  <a:lnTo>
                    <a:pt x="223050" y="349173"/>
                  </a:lnTo>
                  <a:lnTo>
                    <a:pt x="202844" y="364312"/>
                  </a:lnTo>
                  <a:lnTo>
                    <a:pt x="197078" y="348259"/>
                  </a:lnTo>
                  <a:lnTo>
                    <a:pt x="147396" y="260565"/>
                  </a:lnTo>
                  <a:lnTo>
                    <a:pt x="113487" y="238442"/>
                  </a:lnTo>
                  <a:lnTo>
                    <a:pt x="102489" y="237337"/>
                  </a:lnTo>
                  <a:lnTo>
                    <a:pt x="92151" y="238328"/>
                  </a:lnTo>
                  <a:lnTo>
                    <a:pt x="51409" y="265061"/>
                  </a:lnTo>
                  <a:lnTo>
                    <a:pt x="21094" y="304025"/>
                  </a:lnTo>
                  <a:lnTo>
                    <a:pt x="3733" y="349072"/>
                  </a:lnTo>
                  <a:lnTo>
                    <a:pt x="0" y="397205"/>
                  </a:lnTo>
                  <a:lnTo>
                    <a:pt x="10579" y="445414"/>
                  </a:lnTo>
                  <a:lnTo>
                    <a:pt x="31546" y="493204"/>
                  </a:lnTo>
                  <a:lnTo>
                    <a:pt x="57124" y="538429"/>
                  </a:lnTo>
                  <a:lnTo>
                    <a:pt x="86995" y="580796"/>
                  </a:lnTo>
                  <a:lnTo>
                    <a:pt x="120853" y="619975"/>
                  </a:lnTo>
                  <a:lnTo>
                    <a:pt x="158381" y="655637"/>
                  </a:lnTo>
                  <a:lnTo>
                    <a:pt x="199288" y="687476"/>
                  </a:lnTo>
                  <a:lnTo>
                    <a:pt x="243255" y="715162"/>
                  </a:lnTo>
                  <a:lnTo>
                    <a:pt x="289991" y="738378"/>
                  </a:lnTo>
                  <a:lnTo>
                    <a:pt x="339521" y="751408"/>
                  </a:lnTo>
                  <a:lnTo>
                    <a:pt x="356717" y="752284"/>
                  </a:lnTo>
                  <a:lnTo>
                    <a:pt x="388556" y="749261"/>
                  </a:lnTo>
                  <a:lnTo>
                    <a:pt x="446989" y="725868"/>
                  </a:lnTo>
                  <a:lnTo>
                    <a:pt x="485444" y="693102"/>
                  </a:lnTo>
                  <a:lnTo>
                    <a:pt x="502323" y="655091"/>
                  </a:lnTo>
                  <a:lnTo>
                    <a:pt x="501548" y="644385"/>
                  </a:lnTo>
                  <a:lnTo>
                    <a:pt x="481025" y="610336"/>
                  </a:lnTo>
                  <a:lnTo>
                    <a:pt x="451954" y="592061"/>
                  </a:lnTo>
                  <a:lnTo>
                    <a:pt x="477240" y="591820"/>
                  </a:lnTo>
                  <a:lnTo>
                    <a:pt x="524992" y="589546"/>
                  </a:lnTo>
                  <a:lnTo>
                    <a:pt x="702856" y="589546"/>
                  </a:lnTo>
                  <a:lnTo>
                    <a:pt x="702856" y="550341"/>
                  </a:lnTo>
                  <a:lnTo>
                    <a:pt x="702856" y="5463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24">
              <a:extLst>
                <a:ext uri="{FF2B5EF4-FFF2-40B4-BE49-F238E27FC236}">
                  <a16:creationId xmlns:a16="http://schemas.microsoft.com/office/drawing/2014/main" id="{25728B00-8167-4284-BB73-4B565286BAC1}"/>
                </a:ext>
              </a:extLst>
            </p:cNvPr>
            <p:cNvSpPr/>
            <p:nvPr/>
          </p:nvSpPr>
          <p:spPr>
            <a:xfrm>
              <a:off x="1986129" y="7688960"/>
              <a:ext cx="527685" cy="540385"/>
            </a:xfrm>
            <a:custGeom>
              <a:avLst/>
              <a:gdLst/>
              <a:ahLst/>
              <a:cxnLst/>
              <a:rect l="l" t="t" r="r" b="b"/>
              <a:pathLst>
                <a:path w="527685" h="540384">
                  <a:moveTo>
                    <a:pt x="115073" y="0"/>
                  </a:moveTo>
                  <a:lnTo>
                    <a:pt x="68857" y="18453"/>
                  </a:lnTo>
                  <a:lnTo>
                    <a:pt x="22672" y="73089"/>
                  </a:lnTo>
                  <a:lnTo>
                    <a:pt x="3943" y="121604"/>
                  </a:lnTo>
                  <a:lnTo>
                    <a:pt x="42" y="171750"/>
                  </a:lnTo>
                  <a:lnTo>
                    <a:pt x="0" y="173800"/>
                  </a:lnTo>
                  <a:lnTo>
                    <a:pt x="11301" y="225285"/>
                  </a:lnTo>
                  <a:lnTo>
                    <a:pt x="30175" y="268939"/>
                  </a:lnTo>
                  <a:lnTo>
                    <a:pt x="52771" y="310511"/>
                  </a:lnTo>
                  <a:lnTo>
                    <a:pt x="78910" y="349845"/>
                  </a:lnTo>
                  <a:lnTo>
                    <a:pt x="108408" y="386735"/>
                  </a:lnTo>
                  <a:lnTo>
                    <a:pt x="140895" y="420798"/>
                  </a:lnTo>
                  <a:lnTo>
                    <a:pt x="176300" y="451956"/>
                  </a:lnTo>
                  <a:lnTo>
                    <a:pt x="214353" y="479928"/>
                  </a:lnTo>
                  <a:lnTo>
                    <a:pt x="254833" y="504481"/>
                  </a:lnTo>
                  <a:lnTo>
                    <a:pt x="297521" y="525386"/>
                  </a:lnTo>
                  <a:lnTo>
                    <a:pt x="350810" y="539404"/>
                  </a:lnTo>
                  <a:lnTo>
                    <a:pt x="369301" y="540346"/>
                  </a:lnTo>
                  <a:lnTo>
                    <a:pt x="403552" y="537092"/>
                  </a:lnTo>
                  <a:lnTo>
                    <a:pt x="436165" y="527531"/>
                  </a:lnTo>
                  <a:lnTo>
                    <a:pt x="460591" y="514946"/>
                  </a:lnTo>
                  <a:lnTo>
                    <a:pt x="369301" y="514946"/>
                  </a:lnTo>
                  <a:lnTo>
                    <a:pt x="353672" y="514154"/>
                  </a:lnTo>
                  <a:lnTo>
                    <a:pt x="307643" y="502094"/>
                  </a:lnTo>
                  <a:lnTo>
                    <a:pt x="261840" y="479381"/>
                  </a:lnTo>
                  <a:lnTo>
                    <a:pt x="218865" y="452401"/>
                  </a:lnTo>
                  <a:lnTo>
                    <a:pt x="178980" y="421427"/>
                  </a:lnTo>
                  <a:lnTo>
                    <a:pt x="142402" y="386684"/>
                  </a:lnTo>
                  <a:lnTo>
                    <a:pt x="109499" y="348564"/>
                  </a:lnTo>
                  <a:lnTo>
                    <a:pt x="80473" y="307289"/>
                  </a:lnTo>
                  <a:lnTo>
                    <a:pt x="55558" y="263084"/>
                  </a:lnTo>
                  <a:lnTo>
                    <a:pt x="35037" y="216255"/>
                  </a:lnTo>
                  <a:lnTo>
                    <a:pt x="25293" y="171750"/>
                  </a:lnTo>
                  <a:lnTo>
                    <a:pt x="28760" y="127244"/>
                  </a:lnTo>
                  <a:lnTo>
                    <a:pt x="44796" y="85582"/>
                  </a:lnTo>
                  <a:lnTo>
                    <a:pt x="72756" y="49606"/>
                  </a:lnTo>
                  <a:lnTo>
                    <a:pt x="107369" y="26114"/>
                  </a:lnTo>
                  <a:lnTo>
                    <a:pt x="115073" y="25400"/>
                  </a:lnTo>
                  <a:lnTo>
                    <a:pt x="167930" y="25400"/>
                  </a:lnTo>
                  <a:lnTo>
                    <a:pt x="167066" y="24282"/>
                  </a:lnTo>
                  <a:lnTo>
                    <a:pt x="163345" y="20485"/>
                  </a:lnTo>
                  <a:lnTo>
                    <a:pt x="153134" y="11824"/>
                  </a:lnTo>
                  <a:lnTo>
                    <a:pt x="141390" y="5389"/>
                  </a:lnTo>
                  <a:lnTo>
                    <a:pt x="128555" y="1380"/>
                  </a:lnTo>
                  <a:lnTo>
                    <a:pt x="115073" y="0"/>
                  </a:lnTo>
                  <a:close/>
                </a:path>
                <a:path w="527685" h="540384">
                  <a:moveTo>
                    <a:pt x="438029" y="335737"/>
                  </a:moveTo>
                  <a:lnTo>
                    <a:pt x="376934" y="335737"/>
                  </a:lnTo>
                  <a:lnTo>
                    <a:pt x="383290" y="336172"/>
                  </a:lnTo>
                  <a:lnTo>
                    <a:pt x="389572" y="337486"/>
                  </a:lnTo>
                  <a:lnTo>
                    <a:pt x="483093" y="394042"/>
                  </a:lnTo>
                  <a:lnTo>
                    <a:pt x="502207" y="430128"/>
                  </a:lnTo>
                  <a:lnTo>
                    <a:pt x="498761" y="445716"/>
                  </a:lnTo>
                  <a:lnTo>
                    <a:pt x="452351" y="490756"/>
                  </a:lnTo>
                  <a:lnTo>
                    <a:pt x="398256" y="512212"/>
                  </a:lnTo>
                  <a:lnTo>
                    <a:pt x="369301" y="514946"/>
                  </a:lnTo>
                  <a:lnTo>
                    <a:pt x="460591" y="514946"/>
                  </a:lnTo>
                  <a:lnTo>
                    <a:pt x="493418" y="490702"/>
                  </a:lnTo>
                  <a:lnTo>
                    <a:pt x="521911" y="456277"/>
                  </a:lnTo>
                  <a:lnTo>
                    <a:pt x="527594" y="430771"/>
                  </a:lnTo>
                  <a:lnTo>
                    <a:pt x="526643" y="417558"/>
                  </a:lnTo>
                  <a:lnTo>
                    <a:pt x="509166" y="382879"/>
                  </a:lnTo>
                  <a:lnTo>
                    <a:pt x="496809" y="372668"/>
                  </a:lnTo>
                  <a:lnTo>
                    <a:pt x="438029" y="335737"/>
                  </a:lnTo>
                  <a:close/>
                </a:path>
                <a:path w="527685" h="540384">
                  <a:moveTo>
                    <a:pt x="167930" y="25400"/>
                  </a:moveTo>
                  <a:lnTo>
                    <a:pt x="115073" y="25400"/>
                  </a:lnTo>
                  <a:lnTo>
                    <a:pt x="123264" y="26206"/>
                  </a:lnTo>
                  <a:lnTo>
                    <a:pt x="131189" y="28622"/>
                  </a:lnTo>
                  <a:lnTo>
                    <a:pt x="198600" y="129870"/>
                  </a:lnTo>
                  <a:lnTo>
                    <a:pt x="204042" y="159467"/>
                  </a:lnTo>
                  <a:lnTo>
                    <a:pt x="199426" y="173800"/>
                  </a:lnTo>
                  <a:lnTo>
                    <a:pt x="190168" y="186169"/>
                  </a:lnTo>
                  <a:lnTo>
                    <a:pt x="170711" y="204635"/>
                  </a:lnTo>
                  <a:lnTo>
                    <a:pt x="165911" y="209321"/>
                  </a:lnTo>
                  <a:lnTo>
                    <a:pt x="191333" y="268939"/>
                  </a:lnTo>
                  <a:lnTo>
                    <a:pt x="223431" y="309619"/>
                  </a:lnTo>
                  <a:lnTo>
                    <a:pt x="262474" y="343688"/>
                  </a:lnTo>
                  <a:lnTo>
                    <a:pt x="307528" y="370166"/>
                  </a:lnTo>
                  <a:lnTo>
                    <a:pt x="312062" y="371703"/>
                  </a:lnTo>
                  <a:lnTo>
                    <a:pt x="318514" y="371703"/>
                  </a:lnTo>
                  <a:lnTo>
                    <a:pt x="322591" y="370128"/>
                  </a:lnTo>
                  <a:lnTo>
                    <a:pt x="325677" y="367118"/>
                  </a:lnTo>
                  <a:lnTo>
                    <a:pt x="344904" y="348564"/>
                  </a:lnTo>
                  <a:lnTo>
                    <a:pt x="350181" y="344424"/>
                  </a:lnTo>
                  <a:lnTo>
                    <a:pt x="312621" y="344424"/>
                  </a:lnTo>
                  <a:lnTo>
                    <a:pt x="274704" y="321215"/>
                  </a:lnTo>
                  <a:lnTo>
                    <a:pt x="241695" y="292046"/>
                  </a:lnTo>
                  <a:lnTo>
                    <a:pt x="214234" y="257595"/>
                  </a:lnTo>
                  <a:lnTo>
                    <a:pt x="192962" y="218541"/>
                  </a:lnTo>
                  <a:lnTo>
                    <a:pt x="207656" y="204584"/>
                  </a:lnTo>
                  <a:lnTo>
                    <a:pt x="222017" y="185423"/>
                  </a:lnTo>
                  <a:lnTo>
                    <a:pt x="229176" y="163237"/>
                  </a:lnTo>
                  <a:lnTo>
                    <a:pt x="228847" y="139935"/>
                  </a:lnTo>
                  <a:lnTo>
                    <a:pt x="220749" y="117424"/>
                  </a:lnTo>
                  <a:lnTo>
                    <a:pt x="173391" y="33629"/>
                  </a:lnTo>
                  <a:lnTo>
                    <a:pt x="170343" y="28524"/>
                  </a:lnTo>
                  <a:lnTo>
                    <a:pt x="167930" y="25400"/>
                  </a:lnTo>
                  <a:close/>
                </a:path>
                <a:path w="527685" h="540384">
                  <a:moveTo>
                    <a:pt x="376934" y="310337"/>
                  </a:moveTo>
                  <a:lnTo>
                    <a:pt x="338149" y="321690"/>
                  </a:lnTo>
                  <a:lnTo>
                    <a:pt x="312621" y="344424"/>
                  </a:lnTo>
                  <a:lnTo>
                    <a:pt x="350181" y="344424"/>
                  </a:lnTo>
                  <a:lnTo>
                    <a:pt x="352013" y="342986"/>
                  </a:lnTo>
                  <a:lnTo>
                    <a:pt x="359881" y="338974"/>
                  </a:lnTo>
                  <a:lnTo>
                    <a:pt x="368268" y="336550"/>
                  </a:lnTo>
                  <a:lnTo>
                    <a:pt x="376934" y="335737"/>
                  </a:lnTo>
                  <a:lnTo>
                    <a:pt x="438029" y="335737"/>
                  </a:lnTo>
                  <a:lnTo>
                    <a:pt x="415047" y="321297"/>
                  </a:lnTo>
                  <a:lnTo>
                    <a:pt x="406150" y="316552"/>
                  </a:lnTo>
                  <a:lnTo>
                    <a:pt x="396747" y="313121"/>
                  </a:lnTo>
                  <a:lnTo>
                    <a:pt x="386966" y="311038"/>
                  </a:lnTo>
                  <a:lnTo>
                    <a:pt x="376934" y="310337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EA8C17FD-674B-4032-A819-16296650BA68}"/>
              </a:ext>
            </a:extLst>
          </p:cNvPr>
          <p:cNvSpPr/>
          <p:nvPr/>
        </p:nvSpPr>
        <p:spPr>
          <a:xfrm>
            <a:off x="-30162" y="2637817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IN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7F141A9-D8E3-419B-99D7-E1CE7A2EC1C8}"/>
              </a:ext>
            </a:extLst>
          </p:cNvPr>
          <p:cNvSpPr/>
          <p:nvPr/>
        </p:nvSpPr>
        <p:spPr>
          <a:xfrm>
            <a:off x="1419928" y="1106190"/>
            <a:ext cx="3223967" cy="24891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D069006-6D19-4747-BFBE-FA347CEC9480}"/>
              </a:ext>
            </a:extLst>
          </p:cNvPr>
          <p:cNvSpPr/>
          <p:nvPr/>
        </p:nvSpPr>
        <p:spPr>
          <a:xfrm>
            <a:off x="2102177" y="1046375"/>
            <a:ext cx="47134" cy="7541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C27E0C1-423D-41A1-8FF5-51E0F9C24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17" y="1157229"/>
            <a:ext cx="1340316" cy="349834"/>
          </a:xfrm>
          <a:prstGeom prst="rect">
            <a:avLst/>
          </a:prstGeom>
        </p:spPr>
      </p:pic>
      <p:sp>
        <p:nvSpPr>
          <p:cNvPr id="32" name="object 189">
            <a:extLst>
              <a:ext uri="{FF2B5EF4-FFF2-40B4-BE49-F238E27FC236}">
                <a16:creationId xmlns:a16="http://schemas.microsoft.com/office/drawing/2014/main" id="{37DA758D-EF8A-4FC0-9D0E-24DACB116BD8}"/>
              </a:ext>
            </a:extLst>
          </p:cNvPr>
          <p:cNvSpPr/>
          <p:nvPr/>
        </p:nvSpPr>
        <p:spPr>
          <a:xfrm>
            <a:off x="1878284" y="1940741"/>
            <a:ext cx="133168" cy="124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59">
            <a:extLst>
              <a:ext uri="{FF2B5EF4-FFF2-40B4-BE49-F238E27FC236}">
                <a16:creationId xmlns:a16="http://schemas.microsoft.com/office/drawing/2014/main" id="{EDF16749-DA8A-4258-8CE5-6862B639AEEA}"/>
              </a:ext>
            </a:extLst>
          </p:cNvPr>
          <p:cNvGrpSpPr/>
          <p:nvPr/>
        </p:nvGrpSpPr>
        <p:grpSpPr>
          <a:xfrm>
            <a:off x="1541225" y="1760827"/>
            <a:ext cx="1406194" cy="107774"/>
            <a:chOff x="5116715" y="6979449"/>
            <a:chExt cx="1661059" cy="152539"/>
          </a:xfrm>
        </p:grpSpPr>
        <p:sp>
          <p:nvSpPr>
            <p:cNvPr id="35" name="object 61">
              <a:extLst>
                <a:ext uri="{FF2B5EF4-FFF2-40B4-BE49-F238E27FC236}">
                  <a16:creationId xmlns:a16="http://schemas.microsoft.com/office/drawing/2014/main" id="{F0E8668B-E84B-4B3C-BF25-3B9134AC2A55}"/>
                </a:ext>
              </a:extLst>
            </p:cNvPr>
            <p:cNvSpPr/>
            <p:nvPr/>
          </p:nvSpPr>
          <p:spPr>
            <a:xfrm>
              <a:off x="5116715" y="6979449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84"/>
                  </a:lnTo>
                  <a:lnTo>
                    <a:pt x="4152" y="68084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188"/>
                  </a:moveTo>
                  <a:lnTo>
                    <a:pt x="14401" y="34036"/>
                  </a:lnTo>
                  <a:lnTo>
                    <a:pt x="4152" y="34036"/>
                  </a:lnTo>
                  <a:lnTo>
                    <a:pt x="0" y="38188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188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84"/>
                  </a:lnTo>
                  <a:lnTo>
                    <a:pt x="38963" y="68084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188"/>
                  </a:moveTo>
                  <a:lnTo>
                    <a:pt x="49225" y="34036"/>
                  </a:lnTo>
                  <a:lnTo>
                    <a:pt x="38963" y="34036"/>
                  </a:lnTo>
                  <a:lnTo>
                    <a:pt x="34810" y="38188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188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14"/>
                  </a:lnTo>
                  <a:lnTo>
                    <a:pt x="38963" y="18567"/>
                  </a:lnTo>
                  <a:lnTo>
                    <a:pt x="49225" y="18567"/>
                  </a:lnTo>
                  <a:lnTo>
                    <a:pt x="53378" y="14414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84"/>
                  </a:lnTo>
                  <a:lnTo>
                    <a:pt x="73787" y="68084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188"/>
                  </a:moveTo>
                  <a:lnTo>
                    <a:pt x="84035" y="34036"/>
                  </a:lnTo>
                  <a:lnTo>
                    <a:pt x="73787" y="34036"/>
                  </a:lnTo>
                  <a:lnTo>
                    <a:pt x="69634" y="38188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188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35" y="18567"/>
                  </a:lnTo>
                  <a:lnTo>
                    <a:pt x="88201" y="14414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84"/>
                  </a:lnTo>
                  <a:lnTo>
                    <a:pt x="108597" y="68084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188"/>
                  </a:moveTo>
                  <a:lnTo>
                    <a:pt x="118859" y="34036"/>
                  </a:lnTo>
                  <a:lnTo>
                    <a:pt x="108597" y="34036"/>
                  </a:lnTo>
                  <a:lnTo>
                    <a:pt x="104444" y="38188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188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188"/>
                  </a:moveTo>
                  <a:lnTo>
                    <a:pt x="153682" y="34036"/>
                  </a:lnTo>
                  <a:lnTo>
                    <a:pt x="143421" y="34036"/>
                  </a:lnTo>
                  <a:lnTo>
                    <a:pt x="139268" y="38188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188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188"/>
                  </a:moveTo>
                  <a:lnTo>
                    <a:pt x="188493" y="34036"/>
                  </a:lnTo>
                  <a:lnTo>
                    <a:pt x="178244" y="34036"/>
                  </a:lnTo>
                  <a:lnTo>
                    <a:pt x="174091" y="38188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188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188"/>
                  </a:moveTo>
                  <a:lnTo>
                    <a:pt x="223316" y="34036"/>
                  </a:lnTo>
                  <a:lnTo>
                    <a:pt x="213055" y="34036"/>
                  </a:lnTo>
                  <a:lnTo>
                    <a:pt x="208902" y="38188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188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188"/>
                  </a:moveTo>
                  <a:lnTo>
                    <a:pt x="258127" y="34036"/>
                  </a:lnTo>
                  <a:lnTo>
                    <a:pt x="247878" y="34036"/>
                  </a:lnTo>
                  <a:lnTo>
                    <a:pt x="243725" y="38188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188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188"/>
                  </a:moveTo>
                  <a:lnTo>
                    <a:pt x="292950" y="34036"/>
                  </a:lnTo>
                  <a:lnTo>
                    <a:pt x="282689" y="34036"/>
                  </a:lnTo>
                  <a:lnTo>
                    <a:pt x="278536" y="38188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188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188"/>
                  </a:moveTo>
                  <a:lnTo>
                    <a:pt x="327774" y="34036"/>
                  </a:lnTo>
                  <a:lnTo>
                    <a:pt x="317512" y="34036"/>
                  </a:lnTo>
                  <a:lnTo>
                    <a:pt x="313359" y="38188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188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188"/>
                  </a:moveTo>
                  <a:lnTo>
                    <a:pt x="362572" y="34036"/>
                  </a:lnTo>
                  <a:lnTo>
                    <a:pt x="352323" y="34036"/>
                  </a:lnTo>
                  <a:lnTo>
                    <a:pt x="348170" y="38188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188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188"/>
                  </a:moveTo>
                  <a:lnTo>
                    <a:pt x="397408" y="34036"/>
                  </a:lnTo>
                  <a:lnTo>
                    <a:pt x="387146" y="34036"/>
                  </a:lnTo>
                  <a:lnTo>
                    <a:pt x="382993" y="38188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188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188"/>
                  </a:moveTo>
                  <a:lnTo>
                    <a:pt x="432206" y="34036"/>
                  </a:lnTo>
                  <a:lnTo>
                    <a:pt x="421957" y="34036"/>
                  </a:lnTo>
                  <a:lnTo>
                    <a:pt x="417804" y="38188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188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188"/>
                  </a:moveTo>
                  <a:lnTo>
                    <a:pt x="467029" y="34036"/>
                  </a:lnTo>
                  <a:lnTo>
                    <a:pt x="456768" y="34036"/>
                  </a:lnTo>
                  <a:lnTo>
                    <a:pt x="452615" y="38188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188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188"/>
                  </a:moveTo>
                  <a:lnTo>
                    <a:pt x="501853" y="34036"/>
                  </a:lnTo>
                  <a:lnTo>
                    <a:pt x="491591" y="34036"/>
                  </a:lnTo>
                  <a:lnTo>
                    <a:pt x="487438" y="38188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188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188"/>
                  </a:moveTo>
                  <a:lnTo>
                    <a:pt x="536663" y="34036"/>
                  </a:lnTo>
                  <a:lnTo>
                    <a:pt x="526415" y="34036"/>
                  </a:lnTo>
                  <a:lnTo>
                    <a:pt x="522262" y="38188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188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188"/>
                  </a:moveTo>
                  <a:lnTo>
                    <a:pt x="571487" y="34036"/>
                  </a:lnTo>
                  <a:lnTo>
                    <a:pt x="561225" y="34036"/>
                  </a:lnTo>
                  <a:lnTo>
                    <a:pt x="557072" y="38188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188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188"/>
                  </a:moveTo>
                  <a:lnTo>
                    <a:pt x="611670" y="34036"/>
                  </a:lnTo>
                  <a:lnTo>
                    <a:pt x="601421" y="34036"/>
                  </a:lnTo>
                  <a:lnTo>
                    <a:pt x="597268" y="38188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188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188"/>
                  </a:moveTo>
                  <a:lnTo>
                    <a:pt x="646493" y="34036"/>
                  </a:lnTo>
                  <a:lnTo>
                    <a:pt x="636231" y="34036"/>
                  </a:lnTo>
                  <a:lnTo>
                    <a:pt x="632079" y="38188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188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188"/>
                  </a:moveTo>
                  <a:lnTo>
                    <a:pt x="681304" y="34036"/>
                  </a:lnTo>
                  <a:lnTo>
                    <a:pt x="671055" y="34036"/>
                  </a:lnTo>
                  <a:lnTo>
                    <a:pt x="666902" y="38188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188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188"/>
                  </a:moveTo>
                  <a:lnTo>
                    <a:pt x="716127" y="34036"/>
                  </a:lnTo>
                  <a:lnTo>
                    <a:pt x="705866" y="34036"/>
                  </a:lnTo>
                  <a:lnTo>
                    <a:pt x="701713" y="38188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188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188"/>
                  </a:moveTo>
                  <a:lnTo>
                    <a:pt x="750951" y="34036"/>
                  </a:lnTo>
                  <a:lnTo>
                    <a:pt x="740689" y="34036"/>
                  </a:lnTo>
                  <a:lnTo>
                    <a:pt x="736536" y="38188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188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188"/>
                  </a:moveTo>
                  <a:lnTo>
                    <a:pt x="785761" y="34036"/>
                  </a:lnTo>
                  <a:lnTo>
                    <a:pt x="775512" y="34036"/>
                  </a:lnTo>
                  <a:lnTo>
                    <a:pt x="771359" y="38188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188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188"/>
                  </a:moveTo>
                  <a:lnTo>
                    <a:pt x="820585" y="34036"/>
                  </a:lnTo>
                  <a:lnTo>
                    <a:pt x="810323" y="34036"/>
                  </a:lnTo>
                  <a:lnTo>
                    <a:pt x="806170" y="38188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188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188"/>
                  </a:moveTo>
                  <a:lnTo>
                    <a:pt x="855395" y="34036"/>
                  </a:lnTo>
                  <a:lnTo>
                    <a:pt x="845146" y="34036"/>
                  </a:lnTo>
                  <a:lnTo>
                    <a:pt x="840994" y="38188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188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188"/>
                  </a:moveTo>
                  <a:lnTo>
                    <a:pt x="890219" y="34036"/>
                  </a:lnTo>
                  <a:lnTo>
                    <a:pt x="879957" y="34036"/>
                  </a:lnTo>
                  <a:lnTo>
                    <a:pt x="875804" y="38188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188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188"/>
                  </a:moveTo>
                  <a:lnTo>
                    <a:pt x="925029" y="34036"/>
                  </a:lnTo>
                  <a:lnTo>
                    <a:pt x="914768" y="34036"/>
                  </a:lnTo>
                  <a:lnTo>
                    <a:pt x="910615" y="38188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188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188"/>
                  </a:moveTo>
                  <a:lnTo>
                    <a:pt x="959840" y="34036"/>
                  </a:lnTo>
                  <a:lnTo>
                    <a:pt x="949591" y="34036"/>
                  </a:lnTo>
                  <a:lnTo>
                    <a:pt x="945438" y="38188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188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188"/>
                  </a:moveTo>
                  <a:lnTo>
                    <a:pt x="994664" y="34036"/>
                  </a:lnTo>
                  <a:lnTo>
                    <a:pt x="984402" y="34036"/>
                  </a:lnTo>
                  <a:lnTo>
                    <a:pt x="980249" y="38188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188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188"/>
                  </a:moveTo>
                  <a:lnTo>
                    <a:pt x="1029474" y="34036"/>
                  </a:lnTo>
                  <a:lnTo>
                    <a:pt x="1019225" y="34036"/>
                  </a:lnTo>
                  <a:lnTo>
                    <a:pt x="1015072" y="38188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188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188"/>
                  </a:moveTo>
                  <a:lnTo>
                    <a:pt x="1064298" y="34036"/>
                  </a:lnTo>
                  <a:lnTo>
                    <a:pt x="1054036" y="34036"/>
                  </a:lnTo>
                  <a:lnTo>
                    <a:pt x="1049883" y="38188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188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188"/>
                  </a:moveTo>
                  <a:lnTo>
                    <a:pt x="1099121" y="34036"/>
                  </a:lnTo>
                  <a:lnTo>
                    <a:pt x="1088859" y="34036"/>
                  </a:lnTo>
                  <a:lnTo>
                    <a:pt x="1084707" y="38188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188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188"/>
                  </a:moveTo>
                  <a:lnTo>
                    <a:pt x="1133932" y="34036"/>
                  </a:lnTo>
                  <a:lnTo>
                    <a:pt x="1123683" y="34036"/>
                  </a:lnTo>
                  <a:lnTo>
                    <a:pt x="1119530" y="38188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188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188"/>
                  </a:moveTo>
                  <a:lnTo>
                    <a:pt x="1168755" y="34036"/>
                  </a:lnTo>
                  <a:lnTo>
                    <a:pt x="1158494" y="34036"/>
                  </a:lnTo>
                  <a:lnTo>
                    <a:pt x="1154341" y="38188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188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62">
              <a:extLst>
                <a:ext uri="{FF2B5EF4-FFF2-40B4-BE49-F238E27FC236}">
                  <a16:creationId xmlns:a16="http://schemas.microsoft.com/office/drawing/2014/main" id="{7F4E6A0F-F51F-4170-9B04-D32D1B005A0C}"/>
                </a:ext>
              </a:extLst>
            </p:cNvPr>
            <p:cNvSpPr/>
            <p:nvPr/>
          </p:nvSpPr>
          <p:spPr>
            <a:xfrm>
              <a:off x="5116715" y="7047533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80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80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01" y="51282"/>
                  </a:lnTo>
                  <a:lnTo>
                    <a:pt x="18567" y="47129"/>
                  </a:lnTo>
                  <a:lnTo>
                    <a:pt x="18567" y="36880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44"/>
                  </a:lnTo>
                  <a:lnTo>
                    <a:pt x="38963" y="83997"/>
                  </a:lnTo>
                  <a:lnTo>
                    <a:pt x="49225" y="83997"/>
                  </a:lnTo>
                  <a:lnTo>
                    <a:pt x="53378" y="79844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80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80"/>
                  </a:lnTo>
                  <a:lnTo>
                    <a:pt x="34810" y="47129"/>
                  </a:lnTo>
                  <a:lnTo>
                    <a:pt x="38963" y="51282"/>
                  </a:lnTo>
                  <a:lnTo>
                    <a:pt x="49225" y="51282"/>
                  </a:lnTo>
                  <a:lnTo>
                    <a:pt x="53378" y="47129"/>
                  </a:lnTo>
                  <a:lnTo>
                    <a:pt x="53378" y="36880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44"/>
                  </a:lnTo>
                  <a:lnTo>
                    <a:pt x="73787" y="83997"/>
                  </a:lnTo>
                  <a:lnTo>
                    <a:pt x="84035" y="83997"/>
                  </a:lnTo>
                  <a:lnTo>
                    <a:pt x="88201" y="79844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80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80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35" y="51282"/>
                  </a:lnTo>
                  <a:lnTo>
                    <a:pt x="88201" y="47129"/>
                  </a:lnTo>
                  <a:lnTo>
                    <a:pt x="88201" y="36880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44"/>
                  </a:lnTo>
                  <a:lnTo>
                    <a:pt x="108597" y="83997"/>
                  </a:lnTo>
                  <a:lnTo>
                    <a:pt x="118859" y="83997"/>
                  </a:lnTo>
                  <a:lnTo>
                    <a:pt x="123012" y="79844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80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80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59" y="51282"/>
                  </a:lnTo>
                  <a:lnTo>
                    <a:pt x="123012" y="47129"/>
                  </a:lnTo>
                  <a:lnTo>
                    <a:pt x="123012" y="36880"/>
                  </a:lnTo>
                  <a:close/>
                </a:path>
                <a:path w="1173479" h="84454">
                  <a:moveTo>
                    <a:pt x="123012" y="4165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44"/>
                  </a:lnTo>
                  <a:lnTo>
                    <a:pt x="143421" y="83997"/>
                  </a:lnTo>
                  <a:lnTo>
                    <a:pt x="153682" y="83997"/>
                  </a:lnTo>
                  <a:lnTo>
                    <a:pt x="157835" y="79844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80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80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80"/>
                  </a:lnTo>
                  <a:close/>
                </a:path>
                <a:path w="1173479" h="8445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44"/>
                  </a:lnTo>
                  <a:lnTo>
                    <a:pt x="178244" y="83997"/>
                  </a:lnTo>
                  <a:lnTo>
                    <a:pt x="188493" y="83997"/>
                  </a:lnTo>
                  <a:lnTo>
                    <a:pt x="192659" y="79844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80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80"/>
                  </a:lnTo>
                  <a:lnTo>
                    <a:pt x="174091" y="47129"/>
                  </a:lnTo>
                  <a:lnTo>
                    <a:pt x="178244" y="51282"/>
                  </a:lnTo>
                  <a:lnTo>
                    <a:pt x="188493" y="51282"/>
                  </a:lnTo>
                  <a:lnTo>
                    <a:pt x="192659" y="47129"/>
                  </a:lnTo>
                  <a:lnTo>
                    <a:pt x="192659" y="36880"/>
                  </a:lnTo>
                  <a:close/>
                </a:path>
                <a:path w="1173479" h="84454">
                  <a:moveTo>
                    <a:pt x="192659" y="4165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65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65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44"/>
                  </a:lnTo>
                  <a:lnTo>
                    <a:pt x="213055" y="83997"/>
                  </a:lnTo>
                  <a:lnTo>
                    <a:pt x="223316" y="83997"/>
                  </a:lnTo>
                  <a:lnTo>
                    <a:pt x="227469" y="79844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80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80"/>
                  </a:lnTo>
                  <a:lnTo>
                    <a:pt x="208902" y="47129"/>
                  </a:lnTo>
                  <a:lnTo>
                    <a:pt x="213055" y="51282"/>
                  </a:lnTo>
                  <a:lnTo>
                    <a:pt x="223316" y="51282"/>
                  </a:lnTo>
                  <a:lnTo>
                    <a:pt x="227469" y="47129"/>
                  </a:lnTo>
                  <a:lnTo>
                    <a:pt x="227469" y="36880"/>
                  </a:lnTo>
                  <a:close/>
                </a:path>
                <a:path w="1173479" h="84454">
                  <a:moveTo>
                    <a:pt x="227469" y="4165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65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65"/>
                  </a:lnTo>
                  <a:close/>
                </a:path>
                <a:path w="1173479" h="84454">
                  <a:moveTo>
                    <a:pt x="262293" y="36880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80"/>
                  </a:lnTo>
                  <a:lnTo>
                    <a:pt x="243725" y="47129"/>
                  </a:lnTo>
                  <a:lnTo>
                    <a:pt x="247878" y="51282"/>
                  </a:lnTo>
                  <a:lnTo>
                    <a:pt x="258127" y="51282"/>
                  </a:lnTo>
                  <a:lnTo>
                    <a:pt x="262293" y="47129"/>
                  </a:lnTo>
                  <a:lnTo>
                    <a:pt x="262293" y="36880"/>
                  </a:lnTo>
                  <a:close/>
                </a:path>
                <a:path w="1173479" h="84454">
                  <a:moveTo>
                    <a:pt x="262293" y="4165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65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65"/>
                  </a:lnTo>
                  <a:close/>
                </a:path>
                <a:path w="1173479" h="84454">
                  <a:moveTo>
                    <a:pt x="297103" y="36880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80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50" y="51282"/>
                  </a:lnTo>
                  <a:lnTo>
                    <a:pt x="297103" y="47129"/>
                  </a:lnTo>
                  <a:lnTo>
                    <a:pt x="297103" y="36880"/>
                  </a:lnTo>
                  <a:close/>
                </a:path>
                <a:path w="1173479" h="84454">
                  <a:moveTo>
                    <a:pt x="297103" y="4165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1173479" h="84454">
                  <a:moveTo>
                    <a:pt x="331927" y="36880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80"/>
                  </a:lnTo>
                  <a:lnTo>
                    <a:pt x="313359" y="47129"/>
                  </a:lnTo>
                  <a:lnTo>
                    <a:pt x="317512" y="51282"/>
                  </a:lnTo>
                  <a:lnTo>
                    <a:pt x="327774" y="51282"/>
                  </a:lnTo>
                  <a:lnTo>
                    <a:pt x="331927" y="47129"/>
                  </a:lnTo>
                  <a:lnTo>
                    <a:pt x="331927" y="36880"/>
                  </a:lnTo>
                  <a:close/>
                </a:path>
                <a:path w="1173479" h="84454">
                  <a:moveTo>
                    <a:pt x="331927" y="4165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65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65"/>
                  </a:lnTo>
                  <a:close/>
                </a:path>
                <a:path w="1173479" h="84454">
                  <a:moveTo>
                    <a:pt x="366737" y="36880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80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72" y="51282"/>
                  </a:lnTo>
                  <a:lnTo>
                    <a:pt x="366737" y="47129"/>
                  </a:lnTo>
                  <a:lnTo>
                    <a:pt x="366737" y="36880"/>
                  </a:lnTo>
                  <a:close/>
                </a:path>
                <a:path w="1173479" h="84454">
                  <a:moveTo>
                    <a:pt x="366737" y="4165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1173479" h="84454">
                  <a:moveTo>
                    <a:pt x="401561" y="36880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80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408" y="51282"/>
                  </a:lnTo>
                  <a:lnTo>
                    <a:pt x="401561" y="47129"/>
                  </a:lnTo>
                  <a:lnTo>
                    <a:pt x="401561" y="36880"/>
                  </a:lnTo>
                  <a:close/>
                </a:path>
                <a:path w="1173479" h="84454">
                  <a:moveTo>
                    <a:pt x="401561" y="4165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1173479" h="84454">
                  <a:moveTo>
                    <a:pt x="436372" y="36880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80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06" y="51282"/>
                  </a:lnTo>
                  <a:lnTo>
                    <a:pt x="436372" y="47129"/>
                  </a:lnTo>
                  <a:lnTo>
                    <a:pt x="436372" y="36880"/>
                  </a:lnTo>
                  <a:close/>
                </a:path>
                <a:path w="1173479" h="84454">
                  <a:moveTo>
                    <a:pt x="436372" y="4165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1173479" h="84454">
                  <a:moveTo>
                    <a:pt x="471182" y="36880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80"/>
                  </a:lnTo>
                  <a:lnTo>
                    <a:pt x="452615" y="47129"/>
                  </a:lnTo>
                  <a:lnTo>
                    <a:pt x="456768" y="51282"/>
                  </a:lnTo>
                  <a:lnTo>
                    <a:pt x="467029" y="51282"/>
                  </a:lnTo>
                  <a:lnTo>
                    <a:pt x="471182" y="47129"/>
                  </a:lnTo>
                  <a:lnTo>
                    <a:pt x="471182" y="36880"/>
                  </a:lnTo>
                  <a:close/>
                </a:path>
                <a:path w="1173479" h="84454">
                  <a:moveTo>
                    <a:pt x="471182" y="4165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65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65"/>
                  </a:lnTo>
                  <a:close/>
                </a:path>
                <a:path w="1173479" h="84454">
                  <a:moveTo>
                    <a:pt x="506006" y="36880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80"/>
                  </a:lnTo>
                  <a:lnTo>
                    <a:pt x="487438" y="47129"/>
                  </a:lnTo>
                  <a:lnTo>
                    <a:pt x="491591" y="51282"/>
                  </a:lnTo>
                  <a:lnTo>
                    <a:pt x="501853" y="51282"/>
                  </a:lnTo>
                  <a:lnTo>
                    <a:pt x="506006" y="47129"/>
                  </a:lnTo>
                  <a:lnTo>
                    <a:pt x="506006" y="36880"/>
                  </a:lnTo>
                  <a:close/>
                </a:path>
                <a:path w="1173479" h="84454">
                  <a:moveTo>
                    <a:pt x="506006" y="4165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65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65"/>
                  </a:lnTo>
                  <a:close/>
                </a:path>
                <a:path w="1173479" h="84454">
                  <a:moveTo>
                    <a:pt x="540829" y="36880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80"/>
                  </a:lnTo>
                  <a:lnTo>
                    <a:pt x="522262" y="47129"/>
                  </a:lnTo>
                  <a:lnTo>
                    <a:pt x="526415" y="51282"/>
                  </a:lnTo>
                  <a:lnTo>
                    <a:pt x="536663" y="51282"/>
                  </a:lnTo>
                  <a:lnTo>
                    <a:pt x="540829" y="47129"/>
                  </a:lnTo>
                  <a:lnTo>
                    <a:pt x="540829" y="36880"/>
                  </a:lnTo>
                  <a:close/>
                </a:path>
                <a:path w="1173479" h="84454">
                  <a:moveTo>
                    <a:pt x="540829" y="4165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65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65"/>
                  </a:lnTo>
                  <a:close/>
                </a:path>
                <a:path w="1173479" h="84454">
                  <a:moveTo>
                    <a:pt x="575640" y="36880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80"/>
                  </a:lnTo>
                  <a:lnTo>
                    <a:pt x="557072" y="47129"/>
                  </a:lnTo>
                  <a:lnTo>
                    <a:pt x="561225" y="51282"/>
                  </a:lnTo>
                  <a:lnTo>
                    <a:pt x="571487" y="51282"/>
                  </a:lnTo>
                  <a:lnTo>
                    <a:pt x="575640" y="47129"/>
                  </a:lnTo>
                  <a:lnTo>
                    <a:pt x="575640" y="36880"/>
                  </a:lnTo>
                  <a:close/>
                </a:path>
                <a:path w="1173479" h="84454">
                  <a:moveTo>
                    <a:pt x="575640" y="4165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65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65"/>
                  </a:lnTo>
                  <a:close/>
                </a:path>
                <a:path w="1173479" h="84454">
                  <a:moveTo>
                    <a:pt x="615835" y="36880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80"/>
                  </a:lnTo>
                  <a:lnTo>
                    <a:pt x="597268" y="47129"/>
                  </a:lnTo>
                  <a:lnTo>
                    <a:pt x="601421" y="51282"/>
                  </a:lnTo>
                  <a:lnTo>
                    <a:pt x="611670" y="51282"/>
                  </a:lnTo>
                  <a:lnTo>
                    <a:pt x="615835" y="47129"/>
                  </a:lnTo>
                  <a:lnTo>
                    <a:pt x="615835" y="36880"/>
                  </a:lnTo>
                  <a:close/>
                </a:path>
                <a:path w="1173479" h="84454">
                  <a:moveTo>
                    <a:pt x="615835" y="4165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65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65"/>
                  </a:lnTo>
                  <a:close/>
                </a:path>
                <a:path w="1173479" h="84454">
                  <a:moveTo>
                    <a:pt x="650646" y="36880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80"/>
                  </a:lnTo>
                  <a:lnTo>
                    <a:pt x="632079" y="47129"/>
                  </a:lnTo>
                  <a:lnTo>
                    <a:pt x="636231" y="51282"/>
                  </a:lnTo>
                  <a:lnTo>
                    <a:pt x="646493" y="51282"/>
                  </a:lnTo>
                  <a:lnTo>
                    <a:pt x="650646" y="47129"/>
                  </a:lnTo>
                  <a:lnTo>
                    <a:pt x="650646" y="36880"/>
                  </a:lnTo>
                  <a:close/>
                </a:path>
                <a:path w="1173479" h="84454">
                  <a:moveTo>
                    <a:pt x="650646" y="4165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65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65"/>
                  </a:lnTo>
                  <a:close/>
                </a:path>
                <a:path w="1173479" h="84454">
                  <a:moveTo>
                    <a:pt x="685469" y="36880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80"/>
                  </a:lnTo>
                  <a:lnTo>
                    <a:pt x="666902" y="47129"/>
                  </a:lnTo>
                  <a:lnTo>
                    <a:pt x="671055" y="51282"/>
                  </a:lnTo>
                  <a:lnTo>
                    <a:pt x="681304" y="51282"/>
                  </a:lnTo>
                  <a:lnTo>
                    <a:pt x="685469" y="47129"/>
                  </a:lnTo>
                  <a:lnTo>
                    <a:pt x="685469" y="36880"/>
                  </a:lnTo>
                  <a:close/>
                </a:path>
                <a:path w="1173479" h="84454">
                  <a:moveTo>
                    <a:pt x="685469" y="4165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65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65"/>
                  </a:lnTo>
                  <a:close/>
                </a:path>
                <a:path w="1173479" h="84454">
                  <a:moveTo>
                    <a:pt x="720280" y="36880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80"/>
                  </a:lnTo>
                  <a:lnTo>
                    <a:pt x="701713" y="47129"/>
                  </a:lnTo>
                  <a:lnTo>
                    <a:pt x="705866" y="51282"/>
                  </a:lnTo>
                  <a:lnTo>
                    <a:pt x="716127" y="51282"/>
                  </a:lnTo>
                  <a:lnTo>
                    <a:pt x="720280" y="47129"/>
                  </a:lnTo>
                  <a:lnTo>
                    <a:pt x="720280" y="36880"/>
                  </a:lnTo>
                  <a:close/>
                </a:path>
                <a:path w="1173479" h="84454">
                  <a:moveTo>
                    <a:pt x="720280" y="4165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65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65"/>
                  </a:lnTo>
                  <a:close/>
                </a:path>
                <a:path w="1173479" h="84454">
                  <a:moveTo>
                    <a:pt x="755103" y="36880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80"/>
                  </a:lnTo>
                  <a:lnTo>
                    <a:pt x="736536" y="47129"/>
                  </a:lnTo>
                  <a:lnTo>
                    <a:pt x="740689" y="51282"/>
                  </a:lnTo>
                  <a:lnTo>
                    <a:pt x="750951" y="51282"/>
                  </a:lnTo>
                  <a:lnTo>
                    <a:pt x="755103" y="47129"/>
                  </a:lnTo>
                  <a:lnTo>
                    <a:pt x="755103" y="36880"/>
                  </a:lnTo>
                  <a:close/>
                </a:path>
                <a:path w="1173479" h="84454">
                  <a:moveTo>
                    <a:pt x="755103" y="4165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65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65"/>
                  </a:lnTo>
                  <a:close/>
                </a:path>
                <a:path w="1173479" h="84454">
                  <a:moveTo>
                    <a:pt x="789927" y="36880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80"/>
                  </a:lnTo>
                  <a:lnTo>
                    <a:pt x="771359" y="47129"/>
                  </a:lnTo>
                  <a:lnTo>
                    <a:pt x="775512" y="51282"/>
                  </a:lnTo>
                  <a:lnTo>
                    <a:pt x="785761" y="51282"/>
                  </a:lnTo>
                  <a:lnTo>
                    <a:pt x="789927" y="47129"/>
                  </a:lnTo>
                  <a:lnTo>
                    <a:pt x="789927" y="36880"/>
                  </a:lnTo>
                  <a:close/>
                </a:path>
                <a:path w="1173479" h="84454">
                  <a:moveTo>
                    <a:pt x="789927" y="4165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65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65"/>
                  </a:lnTo>
                  <a:close/>
                </a:path>
                <a:path w="1173479" h="84454">
                  <a:moveTo>
                    <a:pt x="824738" y="36880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80"/>
                  </a:lnTo>
                  <a:lnTo>
                    <a:pt x="806170" y="47129"/>
                  </a:lnTo>
                  <a:lnTo>
                    <a:pt x="810323" y="51282"/>
                  </a:lnTo>
                  <a:lnTo>
                    <a:pt x="820585" y="51282"/>
                  </a:lnTo>
                  <a:lnTo>
                    <a:pt x="824738" y="47129"/>
                  </a:lnTo>
                  <a:lnTo>
                    <a:pt x="824738" y="36880"/>
                  </a:lnTo>
                  <a:close/>
                </a:path>
                <a:path w="1173479" h="84454">
                  <a:moveTo>
                    <a:pt x="824738" y="4165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65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65"/>
                  </a:lnTo>
                  <a:close/>
                </a:path>
                <a:path w="1173479" h="84454">
                  <a:moveTo>
                    <a:pt x="859561" y="36880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80"/>
                  </a:lnTo>
                  <a:lnTo>
                    <a:pt x="840994" y="47129"/>
                  </a:lnTo>
                  <a:lnTo>
                    <a:pt x="845146" y="51282"/>
                  </a:lnTo>
                  <a:lnTo>
                    <a:pt x="855395" y="51282"/>
                  </a:lnTo>
                  <a:lnTo>
                    <a:pt x="859561" y="47129"/>
                  </a:lnTo>
                  <a:lnTo>
                    <a:pt x="859561" y="36880"/>
                  </a:lnTo>
                  <a:close/>
                </a:path>
                <a:path w="1173479" h="84454">
                  <a:moveTo>
                    <a:pt x="859561" y="4165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65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65"/>
                  </a:lnTo>
                  <a:close/>
                </a:path>
                <a:path w="1173479" h="84454">
                  <a:moveTo>
                    <a:pt x="894372" y="36880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80"/>
                  </a:lnTo>
                  <a:lnTo>
                    <a:pt x="875804" y="47129"/>
                  </a:lnTo>
                  <a:lnTo>
                    <a:pt x="879957" y="51282"/>
                  </a:lnTo>
                  <a:lnTo>
                    <a:pt x="890219" y="51282"/>
                  </a:lnTo>
                  <a:lnTo>
                    <a:pt x="894372" y="47129"/>
                  </a:lnTo>
                  <a:lnTo>
                    <a:pt x="894372" y="36880"/>
                  </a:lnTo>
                  <a:close/>
                </a:path>
                <a:path w="1173479" h="84454">
                  <a:moveTo>
                    <a:pt x="894372" y="4165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65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65"/>
                  </a:lnTo>
                  <a:close/>
                </a:path>
                <a:path w="1173479" h="84454">
                  <a:moveTo>
                    <a:pt x="929182" y="36880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80"/>
                  </a:lnTo>
                  <a:lnTo>
                    <a:pt x="910615" y="47129"/>
                  </a:lnTo>
                  <a:lnTo>
                    <a:pt x="914768" y="51282"/>
                  </a:lnTo>
                  <a:lnTo>
                    <a:pt x="925029" y="51282"/>
                  </a:lnTo>
                  <a:lnTo>
                    <a:pt x="929182" y="47129"/>
                  </a:lnTo>
                  <a:lnTo>
                    <a:pt x="929182" y="36880"/>
                  </a:lnTo>
                  <a:close/>
                </a:path>
                <a:path w="1173479" h="84454">
                  <a:moveTo>
                    <a:pt x="929182" y="4165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65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65"/>
                  </a:lnTo>
                  <a:close/>
                </a:path>
                <a:path w="1173479" h="84454">
                  <a:moveTo>
                    <a:pt x="964006" y="36880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80"/>
                  </a:lnTo>
                  <a:lnTo>
                    <a:pt x="945438" y="47129"/>
                  </a:lnTo>
                  <a:lnTo>
                    <a:pt x="949591" y="51282"/>
                  </a:lnTo>
                  <a:lnTo>
                    <a:pt x="959840" y="51282"/>
                  </a:lnTo>
                  <a:lnTo>
                    <a:pt x="964006" y="47129"/>
                  </a:lnTo>
                  <a:lnTo>
                    <a:pt x="964006" y="36880"/>
                  </a:lnTo>
                  <a:close/>
                </a:path>
                <a:path w="1173479" h="84454">
                  <a:moveTo>
                    <a:pt x="964006" y="4165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65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65"/>
                  </a:lnTo>
                  <a:close/>
                </a:path>
                <a:path w="1173479" h="84454">
                  <a:moveTo>
                    <a:pt x="998816" y="36880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80"/>
                  </a:lnTo>
                  <a:lnTo>
                    <a:pt x="980249" y="47129"/>
                  </a:lnTo>
                  <a:lnTo>
                    <a:pt x="984402" y="51282"/>
                  </a:lnTo>
                  <a:lnTo>
                    <a:pt x="994664" y="51282"/>
                  </a:lnTo>
                  <a:lnTo>
                    <a:pt x="998816" y="47129"/>
                  </a:lnTo>
                  <a:lnTo>
                    <a:pt x="998816" y="36880"/>
                  </a:lnTo>
                  <a:close/>
                </a:path>
                <a:path w="1173479" h="84454">
                  <a:moveTo>
                    <a:pt x="998816" y="4165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65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65"/>
                  </a:lnTo>
                  <a:close/>
                </a:path>
                <a:path w="1173479" h="84454">
                  <a:moveTo>
                    <a:pt x="1033640" y="36880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80"/>
                  </a:lnTo>
                  <a:lnTo>
                    <a:pt x="1015072" y="47129"/>
                  </a:lnTo>
                  <a:lnTo>
                    <a:pt x="1019225" y="51282"/>
                  </a:lnTo>
                  <a:lnTo>
                    <a:pt x="1029474" y="51282"/>
                  </a:lnTo>
                  <a:lnTo>
                    <a:pt x="1033640" y="47129"/>
                  </a:lnTo>
                  <a:lnTo>
                    <a:pt x="1033640" y="36880"/>
                  </a:lnTo>
                  <a:close/>
                </a:path>
                <a:path w="1173479" h="84454">
                  <a:moveTo>
                    <a:pt x="1033640" y="4165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65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65"/>
                  </a:lnTo>
                  <a:close/>
                </a:path>
                <a:path w="1173479" h="84454">
                  <a:moveTo>
                    <a:pt x="1068451" y="36880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80"/>
                  </a:lnTo>
                  <a:lnTo>
                    <a:pt x="1049883" y="47129"/>
                  </a:lnTo>
                  <a:lnTo>
                    <a:pt x="1054036" y="51282"/>
                  </a:lnTo>
                  <a:lnTo>
                    <a:pt x="1064298" y="51282"/>
                  </a:lnTo>
                  <a:lnTo>
                    <a:pt x="1068451" y="47129"/>
                  </a:lnTo>
                  <a:lnTo>
                    <a:pt x="1068451" y="36880"/>
                  </a:lnTo>
                  <a:close/>
                </a:path>
                <a:path w="1173479" h="84454">
                  <a:moveTo>
                    <a:pt x="1068451" y="4165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65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65"/>
                  </a:lnTo>
                  <a:close/>
                </a:path>
                <a:path w="1173479" h="84454">
                  <a:moveTo>
                    <a:pt x="1103274" y="36880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80"/>
                  </a:lnTo>
                  <a:lnTo>
                    <a:pt x="1084707" y="47129"/>
                  </a:lnTo>
                  <a:lnTo>
                    <a:pt x="1088859" y="51282"/>
                  </a:lnTo>
                  <a:lnTo>
                    <a:pt x="1099121" y="51282"/>
                  </a:lnTo>
                  <a:lnTo>
                    <a:pt x="1103274" y="47129"/>
                  </a:lnTo>
                  <a:lnTo>
                    <a:pt x="1103274" y="36880"/>
                  </a:lnTo>
                  <a:close/>
                </a:path>
                <a:path w="1173479" h="84454">
                  <a:moveTo>
                    <a:pt x="1103274" y="4165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65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65"/>
                  </a:lnTo>
                  <a:close/>
                </a:path>
                <a:path w="1173479" h="84454">
                  <a:moveTo>
                    <a:pt x="1138097" y="36880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80"/>
                  </a:lnTo>
                  <a:lnTo>
                    <a:pt x="1119530" y="47129"/>
                  </a:lnTo>
                  <a:lnTo>
                    <a:pt x="1123683" y="51282"/>
                  </a:lnTo>
                  <a:lnTo>
                    <a:pt x="1133932" y="51282"/>
                  </a:lnTo>
                  <a:lnTo>
                    <a:pt x="1138097" y="47129"/>
                  </a:lnTo>
                  <a:lnTo>
                    <a:pt x="1138097" y="36880"/>
                  </a:lnTo>
                  <a:close/>
                </a:path>
                <a:path w="1173479" h="84454">
                  <a:moveTo>
                    <a:pt x="1138097" y="4165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65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65"/>
                  </a:lnTo>
                  <a:close/>
                </a:path>
                <a:path w="1173479" h="84454">
                  <a:moveTo>
                    <a:pt x="1172908" y="36880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80"/>
                  </a:lnTo>
                  <a:lnTo>
                    <a:pt x="1154341" y="47129"/>
                  </a:lnTo>
                  <a:lnTo>
                    <a:pt x="1158494" y="51282"/>
                  </a:lnTo>
                  <a:lnTo>
                    <a:pt x="1168755" y="51282"/>
                  </a:lnTo>
                  <a:lnTo>
                    <a:pt x="1172908" y="47129"/>
                  </a:lnTo>
                  <a:lnTo>
                    <a:pt x="1172908" y="36880"/>
                  </a:lnTo>
                  <a:close/>
                </a:path>
                <a:path w="1173479" h="84454">
                  <a:moveTo>
                    <a:pt x="1172908" y="4165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65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63">
              <a:extLst>
                <a:ext uri="{FF2B5EF4-FFF2-40B4-BE49-F238E27FC236}">
                  <a16:creationId xmlns:a16="http://schemas.microsoft.com/office/drawing/2014/main" id="{7AC1F50D-9CEA-4A90-A7DC-95B8CED7BFA4}"/>
                </a:ext>
              </a:extLst>
            </p:cNvPr>
            <p:cNvSpPr/>
            <p:nvPr/>
          </p:nvSpPr>
          <p:spPr>
            <a:xfrm>
              <a:off x="5325618" y="6979449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68"/>
                  </a:moveTo>
                  <a:lnTo>
                    <a:pt x="14414" y="133515"/>
                  </a:lnTo>
                  <a:lnTo>
                    <a:pt x="4152" y="133515"/>
                  </a:lnTo>
                  <a:lnTo>
                    <a:pt x="0" y="137668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68"/>
                  </a:lnTo>
                  <a:close/>
                </a:path>
                <a:path w="1451609" h="152400">
                  <a:moveTo>
                    <a:pt x="53390" y="137668"/>
                  </a:moveTo>
                  <a:lnTo>
                    <a:pt x="49225" y="133515"/>
                  </a:lnTo>
                  <a:lnTo>
                    <a:pt x="38976" y="133515"/>
                  </a:lnTo>
                  <a:lnTo>
                    <a:pt x="34823" y="137668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68"/>
                  </a:lnTo>
                  <a:close/>
                </a:path>
                <a:path w="1451609" h="152400">
                  <a:moveTo>
                    <a:pt x="88201" y="137668"/>
                  </a:moveTo>
                  <a:lnTo>
                    <a:pt x="84048" y="133515"/>
                  </a:lnTo>
                  <a:lnTo>
                    <a:pt x="73787" y="133515"/>
                  </a:lnTo>
                  <a:lnTo>
                    <a:pt x="69634" y="137668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68"/>
                  </a:lnTo>
                  <a:close/>
                </a:path>
                <a:path w="1451609" h="152400">
                  <a:moveTo>
                    <a:pt x="123024" y="137668"/>
                  </a:moveTo>
                  <a:lnTo>
                    <a:pt x="118872" y="133515"/>
                  </a:lnTo>
                  <a:lnTo>
                    <a:pt x="108610" y="133515"/>
                  </a:lnTo>
                  <a:lnTo>
                    <a:pt x="104457" y="137668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68"/>
                  </a:lnTo>
                  <a:close/>
                </a:path>
                <a:path w="1451609" h="152400">
                  <a:moveTo>
                    <a:pt x="157835" y="137668"/>
                  </a:moveTo>
                  <a:lnTo>
                    <a:pt x="153670" y="133515"/>
                  </a:lnTo>
                  <a:lnTo>
                    <a:pt x="143421" y="133515"/>
                  </a:lnTo>
                  <a:lnTo>
                    <a:pt x="139268" y="137668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68"/>
                  </a:lnTo>
                  <a:close/>
                </a:path>
                <a:path w="1451609" h="152400">
                  <a:moveTo>
                    <a:pt x="192659" y="137668"/>
                  </a:moveTo>
                  <a:lnTo>
                    <a:pt x="188506" y="133515"/>
                  </a:lnTo>
                  <a:lnTo>
                    <a:pt x="178244" y="133515"/>
                  </a:lnTo>
                  <a:lnTo>
                    <a:pt x="174091" y="137668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68"/>
                  </a:lnTo>
                  <a:close/>
                </a:path>
                <a:path w="1451609" h="152400">
                  <a:moveTo>
                    <a:pt x="227469" y="137668"/>
                  </a:moveTo>
                  <a:lnTo>
                    <a:pt x="223304" y="133515"/>
                  </a:lnTo>
                  <a:lnTo>
                    <a:pt x="213055" y="133515"/>
                  </a:lnTo>
                  <a:lnTo>
                    <a:pt x="208902" y="137668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68"/>
                  </a:lnTo>
                  <a:close/>
                </a:path>
                <a:path w="1451609" h="152400">
                  <a:moveTo>
                    <a:pt x="262280" y="137668"/>
                  </a:moveTo>
                  <a:lnTo>
                    <a:pt x="258127" y="133515"/>
                  </a:lnTo>
                  <a:lnTo>
                    <a:pt x="247865" y="133515"/>
                  </a:lnTo>
                  <a:lnTo>
                    <a:pt x="243713" y="137668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68"/>
                  </a:lnTo>
                  <a:close/>
                </a:path>
                <a:path w="1451609" h="152400">
                  <a:moveTo>
                    <a:pt x="297103" y="137668"/>
                  </a:moveTo>
                  <a:lnTo>
                    <a:pt x="292950" y="133515"/>
                  </a:lnTo>
                  <a:lnTo>
                    <a:pt x="282689" y="133515"/>
                  </a:lnTo>
                  <a:lnTo>
                    <a:pt x="278536" y="137668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68"/>
                  </a:lnTo>
                  <a:close/>
                </a:path>
                <a:path w="1451609" h="152400">
                  <a:moveTo>
                    <a:pt x="331927" y="137668"/>
                  </a:moveTo>
                  <a:lnTo>
                    <a:pt x="327761" y="133515"/>
                  </a:lnTo>
                  <a:lnTo>
                    <a:pt x="317512" y="133515"/>
                  </a:lnTo>
                  <a:lnTo>
                    <a:pt x="313359" y="137668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68"/>
                  </a:lnTo>
                  <a:close/>
                </a:path>
                <a:path w="1451609" h="152400">
                  <a:moveTo>
                    <a:pt x="366737" y="137668"/>
                  </a:moveTo>
                  <a:lnTo>
                    <a:pt x="362585" y="133515"/>
                  </a:lnTo>
                  <a:lnTo>
                    <a:pt x="352323" y="133515"/>
                  </a:lnTo>
                  <a:lnTo>
                    <a:pt x="348170" y="137668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68"/>
                  </a:lnTo>
                  <a:close/>
                </a:path>
                <a:path w="1451609" h="152400">
                  <a:moveTo>
                    <a:pt x="406933" y="137668"/>
                  </a:moveTo>
                  <a:lnTo>
                    <a:pt x="402767" y="133515"/>
                  </a:lnTo>
                  <a:lnTo>
                    <a:pt x="392518" y="133515"/>
                  </a:lnTo>
                  <a:lnTo>
                    <a:pt x="388366" y="137668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68"/>
                  </a:lnTo>
                  <a:close/>
                </a:path>
                <a:path w="1451609" h="152400">
                  <a:moveTo>
                    <a:pt x="441744" y="137668"/>
                  </a:moveTo>
                  <a:lnTo>
                    <a:pt x="437591" y="133515"/>
                  </a:lnTo>
                  <a:lnTo>
                    <a:pt x="427329" y="133515"/>
                  </a:lnTo>
                  <a:lnTo>
                    <a:pt x="423176" y="137668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68"/>
                  </a:lnTo>
                  <a:close/>
                </a:path>
                <a:path w="1451609" h="152400">
                  <a:moveTo>
                    <a:pt x="476567" y="137668"/>
                  </a:moveTo>
                  <a:lnTo>
                    <a:pt x="472401" y="133515"/>
                  </a:lnTo>
                  <a:lnTo>
                    <a:pt x="462153" y="133515"/>
                  </a:lnTo>
                  <a:lnTo>
                    <a:pt x="458000" y="137668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68"/>
                  </a:lnTo>
                  <a:close/>
                </a:path>
                <a:path w="1451609" h="152400">
                  <a:moveTo>
                    <a:pt x="511378" y="137668"/>
                  </a:moveTo>
                  <a:lnTo>
                    <a:pt x="507225" y="133515"/>
                  </a:lnTo>
                  <a:lnTo>
                    <a:pt x="496963" y="133515"/>
                  </a:lnTo>
                  <a:lnTo>
                    <a:pt x="492810" y="137668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68"/>
                  </a:lnTo>
                  <a:close/>
                </a:path>
                <a:path w="1451609" h="152400">
                  <a:moveTo>
                    <a:pt x="546201" y="137668"/>
                  </a:moveTo>
                  <a:lnTo>
                    <a:pt x="542048" y="133515"/>
                  </a:lnTo>
                  <a:lnTo>
                    <a:pt x="531787" y="133515"/>
                  </a:lnTo>
                  <a:lnTo>
                    <a:pt x="527634" y="137668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68"/>
                  </a:lnTo>
                  <a:close/>
                </a:path>
                <a:path w="1451609" h="152400">
                  <a:moveTo>
                    <a:pt x="581025" y="137668"/>
                  </a:moveTo>
                  <a:lnTo>
                    <a:pt x="576859" y="133515"/>
                  </a:lnTo>
                  <a:lnTo>
                    <a:pt x="566610" y="133515"/>
                  </a:lnTo>
                  <a:lnTo>
                    <a:pt x="562457" y="137668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68"/>
                  </a:lnTo>
                  <a:close/>
                </a:path>
                <a:path w="1451609" h="152400">
                  <a:moveTo>
                    <a:pt x="615835" y="137668"/>
                  </a:moveTo>
                  <a:lnTo>
                    <a:pt x="611682" y="133515"/>
                  </a:lnTo>
                  <a:lnTo>
                    <a:pt x="601421" y="133515"/>
                  </a:lnTo>
                  <a:lnTo>
                    <a:pt x="597268" y="137668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68"/>
                  </a:lnTo>
                  <a:close/>
                </a:path>
                <a:path w="1451609" h="152400">
                  <a:moveTo>
                    <a:pt x="650659" y="137668"/>
                  </a:moveTo>
                  <a:lnTo>
                    <a:pt x="646493" y="133515"/>
                  </a:lnTo>
                  <a:lnTo>
                    <a:pt x="636244" y="133515"/>
                  </a:lnTo>
                  <a:lnTo>
                    <a:pt x="632091" y="137668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68"/>
                  </a:lnTo>
                  <a:close/>
                </a:path>
                <a:path w="1451609" h="152400">
                  <a:moveTo>
                    <a:pt x="685469" y="137668"/>
                  </a:moveTo>
                  <a:lnTo>
                    <a:pt x="681316" y="133515"/>
                  </a:lnTo>
                  <a:lnTo>
                    <a:pt x="671055" y="133515"/>
                  </a:lnTo>
                  <a:lnTo>
                    <a:pt x="666902" y="137668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68"/>
                  </a:lnTo>
                  <a:close/>
                </a:path>
                <a:path w="1451609" h="152400">
                  <a:moveTo>
                    <a:pt x="720280" y="137668"/>
                  </a:moveTo>
                  <a:lnTo>
                    <a:pt x="716127" y="133515"/>
                  </a:lnTo>
                  <a:lnTo>
                    <a:pt x="705866" y="133515"/>
                  </a:lnTo>
                  <a:lnTo>
                    <a:pt x="701713" y="137668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68"/>
                  </a:lnTo>
                  <a:close/>
                </a:path>
                <a:path w="1451609" h="152400">
                  <a:moveTo>
                    <a:pt x="755103" y="137668"/>
                  </a:moveTo>
                  <a:lnTo>
                    <a:pt x="750938" y="133515"/>
                  </a:lnTo>
                  <a:lnTo>
                    <a:pt x="740689" y="133515"/>
                  </a:lnTo>
                  <a:lnTo>
                    <a:pt x="736536" y="137668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68"/>
                  </a:lnTo>
                  <a:close/>
                </a:path>
                <a:path w="1451609" h="152400">
                  <a:moveTo>
                    <a:pt x="789914" y="137668"/>
                  </a:moveTo>
                  <a:lnTo>
                    <a:pt x="785761" y="133515"/>
                  </a:lnTo>
                  <a:lnTo>
                    <a:pt x="775500" y="133515"/>
                  </a:lnTo>
                  <a:lnTo>
                    <a:pt x="771347" y="137668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68"/>
                  </a:lnTo>
                  <a:close/>
                </a:path>
                <a:path w="1451609" h="152400">
                  <a:moveTo>
                    <a:pt x="824738" y="137668"/>
                  </a:moveTo>
                  <a:lnTo>
                    <a:pt x="820572" y="133515"/>
                  </a:lnTo>
                  <a:lnTo>
                    <a:pt x="810323" y="133515"/>
                  </a:lnTo>
                  <a:lnTo>
                    <a:pt x="806170" y="137668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68"/>
                  </a:lnTo>
                  <a:close/>
                </a:path>
                <a:path w="1451609" h="152400">
                  <a:moveTo>
                    <a:pt x="859548" y="137668"/>
                  </a:moveTo>
                  <a:lnTo>
                    <a:pt x="855395" y="133515"/>
                  </a:lnTo>
                  <a:lnTo>
                    <a:pt x="845134" y="133515"/>
                  </a:lnTo>
                  <a:lnTo>
                    <a:pt x="840981" y="137668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68"/>
                  </a:lnTo>
                  <a:close/>
                </a:path>
                <a:path w="1451609" h="152400">
                  <a:moveTo>
                    <a:pt x="894372" y="137668"/>
                  </a:moveTo>
                  <a:lnTo>
                    <a:pt x="890219" y="133515"/>
                  </a:lnTo>
                  <a:lnTo>
                    <a:pt x="879957" y="133515"/>
                  </a:lnTo>
                  <a:lnTo>
                    <a:pt x="875804" y="137668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68"/>
                  </a:lnTo>
                  <a:close/>
                </a:path>
                <a:path w="1451609" h="152400">
                  <a:moveTo>
                    <a:pt x="929195" y="137668"/>
                  </a:moveTo>
                  <a:lnTo>
                    <a:pt x="925029" y="133515"/>
                  </a:lnTo>
                  <a:lnTo>
                    <a:pt x="914781" y="133515"/>
                  </a:lnTo>
                  <a:lnTo>
                    <a:pt x="910628" y="137668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68"/>
                  </a:lnTo>
                  <a:close/>
                </a:path>
                <a:path w="1451609" h="152400">
                  <a:moveTo>
                    <a:pt x="964006" y="137668"/>
                  </a:moveTo>
                  <a:lnTo>
                    <a:pt x="959853" y="133515"/>
                  </a:lnTo>
                  <a:lnTo>
                    <a:pt x="949591" y="133515"/>
                  </a:lnTo>
                  <a:lnTo>
                    <a:pt x="945438" y="137668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68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799"/>
                  </a:lnTo>
                  <a:lnTo>
                    <a:pt x="984504" y="100799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84"/>
                  </a:lnTo>
                  <a:lnTo>
                    <a:pt x="984504" y="68084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188"/>
                  </a:moveTo>
                  <a:lnTo>
                    <a:pt x="994765" y="34036"/>
                  </a:lnTo>
                  <a:lnTo>
                    <a:pt x="984504" y="34036"/>
                  </a:lnTo>
                  <a:lnTo>
                    <a:pt x="980351" y="38188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188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14"/>
                  </a:lnTo>
                  <a:lnTo>
                    <a:pt x="984504" y="18567"/>
                  </a:lnTo>
                  <a:lnTo>
                    <a:pt x="994765" y="18567"/>
                  </a:lnTo>
                  <a:lnTo>
                    <a:pt x="998918" y="14414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799"/>
                  </a:lnTo>
                  <a:lnTo>
                    <a:pt x="1019327" y="100799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84"/>
                  </a:lnTo>
                  <a:lnTo>
                    <a:pt x="1019327" y="68084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188"/>
                  </a:moveTo>
                  <a:lnTo>
                    <a:pt x="1029576" y="34036"/>
                  </a:lnTo>
                  <a:lnTo>
                    <a:pt x="1019327" y="34036"/>
                  </a:lnTo>
                  <a:lnTo>
                    <a:pt x="1015174" y="38188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188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14"/>
                  </a:lnTo>
                  <a:lnTo>
                    <a:pt x="1019327" y="18567"/>
                  </a:lnTo>
                  <a:lnTo>
                    <a:pt x="1029576" y="18567"/>
                  </a:lnTo>
                  <a:lnTo>
                    <a:pt x="1033741" y="14414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84"/>
                  </a:lnTo>
                  <a:lnTo>
                    <a:pt x="1054138" y="68084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188"/>
                  </a:moveTo>
                  <a:lnTo>
                    <a:pt x="1064399" y="34036"/>
                  </a:lnTo>
                  <a:lnTo>
                    <a:pt x="1054138" y="34036"/>
                  </a:lnTo>
                  <a:lnTo>
                    <a:pt x="1049985" y="38188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188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14"/>
                  </a:lnTo>
                  <a:lnTo>
                    <a:pt x="1054138" y="18567"/>
                  </a:lnTo>
                  <a:lnTo>
                    <a:pt x="1064399" y="18567"/>
                  </a:lnTo>
                  <a:lnTo>
                    <a:pt x="1068552" y="14414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84"/>
                  </a:lnTo>
                  <a:lnTo>
                    <a:pt x="1088948" y="68084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188"/>
                  </a:moveTo>
                  <a:lnTo>
                    <a:pt x="1099197" y="34036"/>
                  </a:lnTo>
                  <a:lnTo>
                    <a:pt x="1088948" y="34036"/>
                  </a:lnTo>
                  <a:lnTo>
                    <a:pt x="1084795" y="38188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188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14"/>
                  </a:lnTo>
                  <a:lnTo>
                    <a:pt x="1088948" y="18567"/>
                  </a:lnTo>
                  <a:lnTo>
                    <a:pt x="1099197" y="18567"/>
                  </a:lnTo>
                  <a:lnTo>
                    <a:pt x="1103363" y="14414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84"/>
                  </a:lnTo>
                  <a:lnTo>
                    <a:pt x="1123772" y="68084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188"/>
                  </a:moveTo>
                  <a:lnTo>
                    <a:pt x="1134033" y="34036"/>
                  </a:lnTo>
                  <a:lnTo>
                    <a:pt x="1123772" y="34036"/>
                  </a:lnTo>
                  <a:lnTo>
                    <a:pt x="1119619" y="38188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188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14"/>
                  </a:lnTo>
                  <a:lnTo>
                    <a:pt x="1123772" y="18567"/>
                  </a:lnTo>
                  <a:lnTo>
                    <a:pt x="1134033" y="18567"/>
                  </a:lnTo>
                  <a:lnTo>
                    <a:pt x="1138186" y="14414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84"/>
                  </a:lnTo>
                  <a:lnTo>
                    <a:pt x="1158582" y="68084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188"/>
                  </a:moveTo>
                  <a:lnTo>
                    <a:pt x="1168844" y="34036"/>
                  </a:lnTo>
                  <a:lnTo>
                    <a:pt x="1158582" y="34036"/>
                  </a:lnTo>
                  <a:lnTo>
                    <a:pt x="1154430" y="38188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188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14"/>
                  </a:lnTo>
                  <a:lnTo>
                    <a:pt x="1158582" y="18567"/>
                  </a:lnTo>
                  <a:lnTo>
                    <a:pt x="1168844" y="18567"/>
                  </a:lnTo>
                  <a:lnTo>
                    <a:pt x="1172997" y="14414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84"/>
                  </a:lnTo>
                  <a:lnTo>
                    <a:pt x="1193393" y="68084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188"/>
                  </a:moveTo>
                  <a:lnTo>
                    <a:pt x="1203642" y="34036"/>
                  </a:lnTo>
                  <a:lnTo>
                    <a:pt x="1193393" y="34036"/>
                  </a:lnTo>
                  <a:lnTo>
                    <a:pt x="1189240" y="38188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188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14"/>
                  </a:lnTo>
                  <a:lnTo>
                    <a:pt x="1193393" y="18567"/>
                  </a:lnTo>
                  <a:lnTo>
                    <a:pt x="1203642" y="18567"/>
                  </a:lnTo>
                  <a:lnTo>
                    <a:pt x="1207808" y="14414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84"/>
                  </a:lnTo>
                  <a:lnTo>
                    <a:pt x="1228204" y="68084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188"/>
                  </a:moveTo>
                  <a:lnTo>
                    <a:pt x="1238465" y="34036"/>
                  </a:lnTo>
                  <a:lnTo>
                    <a:pt x="1228204" y="34036"/>
                  </a:lnTo>
                  <a:lnTo>
                    <a:pt x="1224051" y="38188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188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14"/>
                  </a:lnTo>
                  <a:lnTo>
                    <a:pt x="1228204" y="18567"/>
                  </a:lnTo>
                  <a:lnTo>
                    <a:pt x="1238465" y="18567"/>
                  </a:lnTo>
                  <a:lnTo>
                    <a:pt x="1242618" y="14414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84"/>
                  </a:lnTo>
                  <a:lnTo>
                    <a:pt x="1263040" y="68084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188"/>
                  </a:moveTo>
                  <a:lnTo>
                    <a:pt x="1273289" y="34036"/>
                  </a:lnTo>
                  <a:lnTo>
                    <a:pt x="1263040" y="34036"/>
                  </a:lnTo>
                  <a:lnTo>
                    <a:pt x="1258887" y="38188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188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14"/>
                  </a:lnTo>
                  <a:lnTo>
                    <a:pt x="1263040" y="18567"/>
                  </a:lnTo>
                  <a:lnTo>
                    <a:pt x="1273289" y="18567"/>
                  </a:lnTo>
                  <a:lnTo>
                    <a:pt x="1277454" y="14414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84"/>
                  </a:lnTo>
                  <a:lnTo>
                    <a:pt x="1297851" y="68084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188"/>
                  </a:moveTo>
                  <a:lnTo>
                    <a:pt x="1308112" y="34036"/>
                  </a:lnTo>
                  <a:lnTo>
                    <a:pt x="1297851" y="34036"/>
                  </a:lnTo>
                  <a:lnTo>
                    <a:pt x="1293698" y="38188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188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14"/>
                  </a:lnTo>
                  <a:lnTo>
                    <a:pt x="1297851" y="18567"/>
                  </a:lnTo>
                  <a:lnTo>
                    <a:pt x="1308112" y="18567"/>
                  </a:lnTo>
                  <a:lnTo>
                    <a:pt x="1312265" y="14414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84"/>
                  </a:lnTo>
                  <a:lnTo>
                    <a:pt x="1332674" y="68084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188"/>
                  </a:moveTo>
                  <a:lnTo>
                    <a:pt x="1342936" y="34036"/>
                  </a:lnTo>
                  <a:lnTo>
                    <a:pt x="1332674" y="34036"/>
                  </a:lnTo>
                  <a:lnTo>
                    <a:pt x="1328521" y="38188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188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14"/>
                  </a:lnTo>
                  <a:lnTo>
                    <a:pt x="1332674" y="18567"/>
                  </a:lnTo>
                  <a:lnTo>
                    <a:pt x="1342936" y="18567"/>
                  </a:lnTo>
                  <a:lnTo>
                    <a:pt x="1347089" y="14414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84"/>
                  </a:lnTo>
                  <a:lnTo>
                    <a:pt x="1367497" y="68084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188"/>
                  </a:moveTo>
                  <a:lnTo>
                    <a:pt x="1377746" y="34036"/>
                  </a:lnTo>
                  <a:lnTo>
                    <a:pt x="1367497" y="34036"/>
                  </a:lnTo>
                  <a:lnTo>
                    <a:pt x="1363345" y="38188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188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14"/>
                  </a:lnTo>
                  <a:lnTo>
                    <a:pt x="1367497" y="18567"/>
                  </a:lnTo>
                  <a:lnTo>
                    <a:pt x="1377746" y="18567"/>
                  </a:lnTo>
                  <a:lnTo>
                    <a:pt x="1381912" y="14414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84"/>
                  </a:lnTo>
                  <a:lnTo>
                    <a:pt x="1402308" y="68084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188"/>
                  </a:moveTo>
                  <a:lnTo>
                    <a:pt x="1412570" y="34036"/>
                  </a:lnTo>
                  <a:lnTo>
                    <a:pt x="1402308" y="34036"/>
                  </a:lnTo>
                  <a:lnTo>
                    <a:pt x="1398155" y="38188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188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14"/>
                  </a:lnTo>
                  <a:lnTo>
                    <a:pt x="1402308" y="18567"/>
                  </a:lnTo>
                  <a:lnTo>
                    <a:pt x="1412570" y="18567"/>
                  </a:lnTo>
                  <a:lnTo>
                    <a:pt x="1416723" y="14414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84"/>
                  </a:lnTo>
                  <a:lnTo>
                    <a:pt x="1437132" y="68084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188"/>
                  </a:moveTo>
                  <a:lnTo>
                    <a:pt x="1447380" y="34036"/>
                  </a:lnTo>
                  <a:lnTo>
                    <a:pt x="1437132" y="34036"/>
                  </a:lnTo>
                  <a:lnTo>
                    <a:pt x="1432979" y="38188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1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64">
              <a:extLst>
                <a:ext uri="{FF2B5EF4-FFF2-40B4-BE49-F238E27FC236}">
                  <a16:creationId xmlns:a16="http://schemas.microsoft.com/office/drawing/2014/main" id="{C63D99F2-58B7-4968-83F3-8111F231527D}"/>
                </a:ext>
              </a:extLst>
            </p:cNvPr>
            <p:cNvSpPr/>
            <p:nvPr/>
          </p:nvSpPr>
          <p:spPr>
            <a:xfrm>
              <a:off x="6305969" y="7080248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14" y="51282"/>
                  </a:lnTo>
                  <a:lnTo>
                    <a:pt x="18567" y="47129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29"/>
                  </a:lnTo>
                  <a:lnTo>
                    <a:pt x="38976" y="51282"/>
                  </a:lnTo>
                  <a:lnTo>
                    <a:pt x="49225" y="51282"/>
                  </a:lnTo>
                  <a:lnTo>
                    <a:pt x="53390" y="47129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65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65"/>
                  </a:lnTo>
                  <a:lnTo>
                    <a:pt x="34823" y="14414"/>
                  </a:lnTo>
                  <a:lnTo>
                    <a:pt x="38976" y="18567"/>
                  </a:lnTo>
                  <a:lnTo>
                    <a:pt x="49225" y="18567"/>
                  </a:lnTo>
                  <a:lnTo>
                    <a:pt x="53390" y="14414"/>
                  </a:lnTo>
                  <a:lnTo>
                    <a:pt x="53390" y="4165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48" y="51282"/>
                  </a:lnTo>
                  <a:lnTo>
                    <a:pt x="88201" y="47129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65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65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48" y="18567"/>
                  </a:lnTo>
                  <a:lnTo>
                    <a:pt x="88201" y="14414"/>
                  </a:lnTo>
                  <a:lnTo>
                    <a:pt x="88201" y="4165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46" y="51282"/>
                  </a:lnTo>
                  <a:lnTo>
                    <a:pt x="123012" y="47129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65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46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29"/>
                  </a:lnTo>
                  <a:lnTo>
                    <a:pt x="178231" y="51282"/>
                  </a:lnTo>
                  <a:lnTo>
                    <a:pt x="188493" y="51282"/>
                  </a:lnTo>
                  <a:lnTo>
                    <a:pt x="192646" y="47129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65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65"/>
                  </a:lnTo>
                  <a:lnTo>
                    <a:pt x="174078" y="14414"/>
                  </a:lnTo>
                  <a:lnTo>
                    <a:pt x="178231" y="18567"/>
                  </a:lnTo>
                  <a:lnTo>
                    <a:pt x="188493" y="18567"/>
                  </a:lnTo>
                  <a:lnTo>
                    <a:pt x="192646" y="14414"/>
                  </a:lnTo>
                  <a:lnTo>
                    <a:pt x="192646" y="4165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29"/>
                  </a:lnTo>
                  <a:lnTo>
                    <a:pt x="213042" y="51282"/>
                  </a:lnTo>
                  <a:lnTo>
                    <a:pt x="223291" y="51282"/>
                  </a:lnTo>
                  <a:lnTo>
                    <a:pt x="227457" y="47129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65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65"/>
                  </a:lnTo>
                  <a:lnTo>
                    <a:pt x="208889" y="14414"/>
                  </a:lnTo>
                  <a:lnTo>
                    <a:pt x="213042" y="18567"/>
                  </a:lnTo>
                  <a:lnTo>
                    <a:pt x="223291" y="18567"/>
                  </a:lnTo>
                  <a:lnTo>
                    <a:pt x="227457" y="14414"/>
                  </a:lnTo>
                  <a:lnTo>
                    <a:pt x="227457" y="4165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29"/>
                  </a:lnTo>
                  <a:lnTo>
                    <a:pt x="247853" y="51282"/>
                  </a:lnTo>
                  <a:lnTo>
                    <a:pt x="258114" y="51282"/>
                  </a:lnTo>
                  <a:lnTo>
                    <a:pt x="262267" y="47129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65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65"/>
                  </a:lnTo>
                  <a:lnTo>
                    <a:pt x="243700" y="14414"/>
                  </a:lnTo>
                  <a:lnTo>
                    <a:pt x="247853" y="18567"/>
                  </a:lnTo>
                  <a:lnTo>
                    <a:pt x="258114" y="18567"/>
                  </a:lnTo>
                  <a:lnTo>
                    <a:pt x="262267" y="14414"/>
                  </a:lnTo>
                  <a:lnTo>
                    <a:pt x="262267" y="4165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38" y="51282"/>
                  </a:lnTo>
                  <a:lnTo>
                    <a:pt x="297103" y="47129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65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38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29"/>
                  </a:lnTo>
                  <a:lnTo>
                    <a:pt x="317500" y="51282"/>
                  </a:lnTo>
                  <a:lnTo>
                    <a:pt x="327761" y="51282"/>
                  </a:lnTo>
                  <a:lnTo>
                    <a:pt x="331914" y="47129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65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65"/>
                  </a:lnTo>
                  <a:lnTo>
                    <a:pt x="313347" y="14414"/>
                  </a:lnTo>
                  <a:lnTo>
                    <a:pt x="317500" y="18567"/>
                  </a:lnTo>
                  <a:lnTo>
                    <a:pt x="327761" y="18567"/>
                  </a:lnTo>
                  <a:lnTo>
                    <a:pt x="331914" y="14414"/>
                  </a:lnTo>
                  <a:lnTo>
                    <a:pt x="331914" y="4165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85" y="51282"/>
                  </a:lnTo>
                  <a:lnTo>
                    <a:pt x="366737" y="47129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65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85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395" y="51282"/>
                  </a:lnTo>
                  <a:lnTo>
                    <a:pt x="401561" y="47129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65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395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19" y="51282"/>
                  </a:lnTo>
                  <a:lnTo>
                    <a:pt x="436372" y="47129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65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19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471804" h="51434">
                  <a:moveTo>
                    <a:pt x="471195" y="4165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65"/>
                  </a:lnTo>
                  <a:lnTo>
                    <a:pt x="452628" y="14414"/>
                  </a:lnTo>
                  <a:lnTo>
                    <a:pt x="456780" y="18567"/>
                  </a:lnTo>
                  <a:lnTo>
                    <a:pt x="467029" y="18567"/>
                  </a:lnTo>
                  <a:lnTo>
                    <a:pt x="471195" y="14414"/>
                  </a:lnTo>
                  <a:lnTo>
                    <a:pt x="471195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6" name="object 66">
            <a:extLst>
              <a:ext uri="{FF2B5EF4-FFF2-40B4-BE49-F238E27FC236}">
                <a16:creationId xmlns:a16="http://schemas.microsoft.com/office/drawing/2014/main" id="{31546FE8-44EE-4772-8C5B-270E6411C219}"/>
              </a:ext>
            </a:extLst>
          </p:cNvPr>
          <p:cNvGrpSpPr/>
          <p:nvPr/>
        </p:nvGrpSpPr>
        <p:grpSpPr>
          <a:xfrm>
            <a:off x="1772332" y="1708101"/>
            <a:ext cx="329845" cy="232640"/>
            <a:chOff x="5790603" y="7283805"/>
            <a:chExt cx="312673" cy="294270"/>
          </a:xfrm>
        </p:grpSpPr>
        <p:sp>
          <p:nvSpPr>
            <p:cNvPr id="47" name="object 67">
              <a:extLst>
                <a:ext uri="{FF2B5EF4-FFF2-40B4-BE49-F238E27FC236}">
                  <a16:creationId xmlns:a16="http://schemas.microsoft.com/office/drawing/2014/main" id="{EDFD9CB5-71D8-4103-BCE0-857974A17E6C}"/>
                </a:ext>
              </a:extLst>
            </p:cNvPr>
            <p:cNvSpPr/>
            <p:nvPr/>
          </p:nvSpPr>
          <p:spPr>
            <a:xfrm>
              <a:off x="5790603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68">
              <a:extLst>
                <a:ext uri="{FF2B5EF4-FFF2-40B4-BE49-F238E27FC236}">
                  <a16:creationId xmlns:a16="http://schemas.microsoft.com/office/drawing/2014/main" id="{ABFCDA71-3910-4E5E-BE4F-1C3DEE8A4732}"/>
                </a:ext>
              </a:extLst>
            </p:cNvPr>
            <p:cNvSpPr/>
            <p:nvPr/>
          </p:nvSpPr>
          <p:spPr>
            <a:xfrm>
              <a:off x="5905550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69">
              <a:extLst>
                <a:ext uri="{FF2B5EF4-FFF2-40B4-BE49-F238E27FC236}">
                  <a16:creationId xmlns:a16="http://schemas.microsoft.com/office/drawing/2014/main" id="{E4003D1B-3C09-461D-8728-EA64746F76D5}"/>
                </a:ext>
              </a:extLst>
            </p:cNvPr>
            <p:cNvSpPr/>
            <p:nvPr/>
          </p:nvSpPr>
          <p:spPr>
            <a:xfrm>
              <a:off x="6020511" y="7283805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70">
              <a:extLst>
                <a:ext uri="{FF2B5EF4-FFF2-40B4-BE49-F238E27FC236}">
                  <a16:creationId xmlns:a16="http://schemas.microsoft.com/office/drawing/2014/main" id="{127089F5-4AD6-4135-9FD3-4A69E6426B84}"/>
                </a:ext>
              </a:extLst>
            </p:cNvPr>
            <p:cNvSpPr/>
            <p:nvPr/>
          </p:nvSpPr>
          <p:spPr>
            <a:xfrm>
              <a:off x="5790603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71">
              <a:extLst>
                <a:ext uri="{FF2B5EF4-FFF2-40B4-BE49-F238E27FC236}">
                  <a16:creationId xmlns:a16="http://schemas.microsoft.com/office/drawing/2014/main" id="{969BC616-D7CD-4F5F-9626-82547192DFD3}"/>
                </a:ext>
              </a:extLst>
            </p:cNvPr>
            <p:cNvSpPr/>
            <p:nvPr/>
          </p:nvSpPr>
          <p:spPr>
            <a:xfrm>
              <a:off x="5905550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72">
              <a:extLst>
                <a:ext uri="{FF2B5EF4-FFF2-40B4-BE49-F238E27FC236}">
                  <a16:creationId xmlns:a16="http://schemas.microsoft.com/office/drawing/2014/main" id="{2BD0AC8D-78AD-4708-866C-54EB54FAF039}"/>
                </a:ext>
              </a:extLst>
            </p:cNvPr>
            <p:cNvSpPr/>
            <p:nvPr/>
          </p:nvSpPr>
          <p:spPr>
            <a:xfrm>
              <a:off x="6020511" y="7389570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73">
              <a:extLst>
                <a:ext uri="{FF2B5EF4-FFF2-40B4-BE49-F238E27FC236}">
                  <a16:creationId xmlns:a16="http://schemas.microsoft.com/office/drawing/2014/main" id="{D61BF9AB-CE32-4F4A-85A9-D42E641CF063}"/>
                </a:ext>
              </a:extLst>
            </p:cNvPr>
            <p:cNvSpPr/>
            <p:nvPr/>
          </p:nvSpPr>
          <p:spPr>
            <a:xfrm>
              <a:off x="5790603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74">
              <a:extLst>
                <a:ext uri="{FF2B5EF4-FFF2-40B4-BE49-F238E27FC236}">
                  <a16:creationId xmlns:a16="http://schemas.microsoft.com/office/drawing/2014/main" id="{534CBEC0-28DC-4137-9F3D-68B1FAAB2839}"/>
                </a:ext>
              </a:extLst>
            </p:cNvPr>
            <p:cNvSpPr/>
            <p:nvPr/>
          </p:nvSpPr>
          <p:spPr>
            <a:xfrm>
              <a:off x="5905550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75">
              <a:extLst>
                <a:ext uri="{FF2B5EF4-FFF2-40B4-BE49-F238E27FC236}">
                  <a16:creationId xmlns:a16="http://schemas.microsoft.com/office/drawing/2014/main" id="{E16BFB0C-C981-4CBD-A2B9-79EB5B9E94F4}"/>
                </a:ext>
              </a:extLst>
            </p:cNvPr>
            <p:cNvSpPr/>
            <p:nvPr/>
          </p:nvSpPr>
          <p:spPr>
            <a:xfrm>
              <a:off x="6020511" y="7495310"/>
              <a:ext cx="82765" cy="8276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5" name="object 76">
            <a:extLst>
              <a:ext uri="{FF2B5EF4-FFF2-40B4-BE49-F238E27FC236}">
                <a16:creationId xmlns:a16="http://schemas.microsoft.com/office/drawing/2014/main" id="{E869F0AE-F92B-4F09-A97C-3E9F30485C44}"/>
              </a:ext>
            </a:extLst>
          </p:cNvPr>
          <p:cNvGrpSpPr/>
          <p:nvPr/>
        </p:nvGrpSpPr>
        <p:grpSpPr>
          <a:xfrm>
            <a:off x="1523631" y="1648766"/>
            <a:ext cx="908484" cy="575960"/>
            <a:chOff x="5025083" y="10290049"/>
            <a:chExt cx="1783694" cy="1061715"/>
          </a:xfrm>
        </p:grpSpPr>
        <p:sp>
          <p:nvSpPr>
            <p:cNvPr id="66" name="object 77">
              <a:extLst>
                <a:ext uri="{FF2B5EF4-FFF2-40B4-BE49-F238E27FC236}">
                  <a16:creationId xmlns:a16="http://schemas.microsoft.com/office/drawing/2014/main" id="{CD6F0544-8D5A-48A8-A917-1F7BA5C79717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object 78">
              <a:extLst>
                <a:ext uri="{FF2B5EF4-FFF2-40B4-BE49-F238E27FC236}">
                  <a16:creationId xmlns:a16="http://schemas.microsoft.com/office/drawing/2014/main" id="{71B7D19F-4409-47C1-AF94-26AFAE7D3DD3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object 79">
              <a:extLst>
                <a:ext uri="{FF2B5EF4-FFF2-40B4-BE49-F238E27FC236}">
                  <a16:creationId xmlns:a16="http://schemas.microsoft.com/office/drawing/2014/main" id="{540A4869-B07D-4B01-8064-C8422781B381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object 80">
              <a:extLst>
                <a:ext uri="{FF2B5EF4-FFF2-40B4-BE49-F238E27FC236}">
                  <a16:creationId xmlns:a16="http://schemas.microsoft.com/office/drawing/2014/main" id="{F5367C53-EAD5-44E3-A086-A472BC303143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object 81">
              <a:extLst>
                <a:ext uri="{FF2B5EF4-FFF2-40B4-BE49-F238E27FC236}">
                  <a16:creationId xmlns:a16="http://schemas.microsoft.com/office/drawing/2014/main" id="{C5F77377-9FD9-4B94-AFAC-57E576DDBF57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1" name="object 77">
            <a:extLst>
              <a:ext uri="{FF2B5EF4-FFF2-40B4-BE49-F238E27FC236}">
                <a16:creationId xmlns:a16="http://schemas.microsoft.com/office/drawing/2014/main" id="{CFBEB42F-B376-49F7-8CB4-64343FEA0742}"/>
              </a:ext>
            </a:extLst>
          </p:cNvPr>
          <p:cNvSpPr/>
          <p:nvPr/>
        </p:nvSpPr>
        <p:spPr>
          <a:xfrm>
            <a:off x="5025083" y="102900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3" name="object 77">
            <a:extLst>
              <a:ext uri="{FF2B5EF4-FFF2-40B4-BE49-F238E27FC236}">
                <a16:creationId xmlns:a16="http://schemas.microsoft.com/office/drawing/2014/main" id="{A54CB967-518F-4EA9-ACEC-14794D1F37E5}"/>
              </a:ext>
            </a:extLst>
          </p:cNvPr>
          <p:cNvSpPr/>
          <p:nvPr/>
        </p:nvSpPr>
        <p:spPr>
          <a:xfrm>
            <a:off x="5177483" y="104424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6" name="object 82">
            <a:extLst>
              <a:ext uri="{FF2B5EF4-FFF2-40B4-BE49-F238E27FC236}">
                <a16:creationId xmlns:a16="http://schemas.microsoft.com/office/drawing/2014/main" id="{A613B3A3-AF51-4565-8AD5-FFC1829D6D29}"/>
              </a:ext>
            </a:extLst>
          </p:cNvPr>
          <p:cNvSpPr txBox="1"/>
          <p:nvPr/>
        </p:nvSpPr>
        <p:spPr>
          <a:xfrm>
            <a:off x="5814567" y="11041984"/>
            <a:ext cx="264795" cy="19043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defTabSz="914400">
              <a:spcBef>
                <a:spcPts val="105"/>
              </a:spcBef>
            </a:pPr>
            <a:r>
              <a:rPr sz="1150" u="sng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u="sng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82">
            <a:extLst>
              <a:ext uri="{FF2B5EF4-FFF2-40B4-BE49-F238E27FC236}">
                <a16:creationId xmlns:a16="http://schemas.microsoft.com/office/drawing/2014/main" id="{55B8AD16-7CA5-44E3-B660-E91D91E51C53}"/>
              </a:ext>
            </a:extLst>
          </p:cNvPr>
          <p:cNvSpPr txBox="1"/>
          <p:nvPr/>
        </p:nvSpPr>
        <p:spPr>
          <a:xfrm>
            <a:off x="5814567" y="11041984"/>
            <a:ext cx="264795" cy="2012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50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dirty="0">
              <a:latin typeface="Arial"/>
              <a:cs typeface="Arial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4AACBB45-5BBF-404B-865B-DDA291DB0D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8321" y="1743516"/>
            <a:ext cx="439305" cy="430857"/>
          </a:xfrm>
          <a:prstGeom prst="rect">
            <a:avLst/>
          </a:prstGeom>
        </p:spPr>
      </p:pic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B52ED418-0FC1-4F16-A478-3726E913DFA1}"/>
              </a:ext>
            </a:extLst>
          </p:cNvPr>
          <p:cNvCxnSpPr/>
          <p:nvPr/>
        </p:nvCxnSpPr>
        <p:spPr>
          <a:xfrm>
            <a:off x="1975971" y="2221695"/>
            <a:ext cx="0" cy="5492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" name="object 76">
            <a:extLst>
              <a:ext uri="{FF2B5EF4-FFF2-40B4-BE49-F238E27FC236}">
                <a16:creationId xmlns:a16="http://schemas.microsoft.com/office/drawing/2014/main" id="{5027FA7D-971E-4C89-AAA6-A0898AC215A7}"/>
              </a:ext>
            </a:extLst>
          </p:cNvPr>
          <p:cNvGrpSpPr/>
          <p:nvPr/>
        </p:nvGrpSpPr>
        <p:grpSpPr>
          <a:xfrm>
            <a:off x="1523631" y="2818308"/>
            <a:ext cx="908484" cy="575960"/>
            <a:chOff x="5025083" y="10290049"/>
            <a:chExt cx="1783694" cy="1061715"/>
          </a:xfrm>
        </p:grpSpPr>
        <p:sp>
          <p:nvSpPr>
            <p:cNvPr id="82" name="object 77">
              <a:extLst>
                <a:ext uri="{FF2B5EF4-FFF2-40B4-BE49-F238E27FC236}">
                  <a16:creationId xmlns:a16="http://schemas.microsoft.com/office/drawing/2014/main" id="{99ED7D55-8936-4915-9E38-D63955EDD412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" name="object 78">
              <a:extLst>
                <a:ext uri="{FF2B5EF4-FFF2-40B4-BE49-F238E27FC236}">
                  <a16:creationId xmlns:a16="http://schemas.microsoft.com/office/drawing/2014/main" id="{5AFFADE6-007F-4EAE-B60A-3DE6DE1FFAEB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object 79">
              <a:extLst>
                <a:ext uri="{FF2B5EF4-FFF2-40B4-BE49-F238E27FC236}">
                  <a16:creationId xmlns:a16="http://schemas.microsoft.com/office/drawing/2014/main" id="{D01DB64E-E76B-4068-95C7-B1AF0FA22729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object 80">
              <a:extLst>
                <a:ext uri="{FF2B5EF4-FFF2-40B4-BE49-F238E27FC236}">
                  <a16:creationId xmlns:a16="http://schemas.microsoft.com/office/drawing/2014/main" id="{956F594A-AACB-4F09-9BBF-FF0F33D43695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object 81">
              <a:extLst>
                <a:ext uri="{FF2B5EF4-FFF2-40B4-BE49-F238E27FC236}">
                  <a16:creationId xmlns:a16="http://schemas.microsoft.com/office/drawing/2014/main" id="{0C860615-6B4D-4A7A-A274-F3D0BAD8AE80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BFE4C6C2-6009-4E9B-99B9-ADBF448C03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7347" y="2927914"/>
            <a:ext cx="517248" cy="45433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6C0C92D1-F389-4B61-9251-2C471F2E23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84525" y="2076757"/>
            <a:ext cx="908475" cy="690758"/>
          </a:xfrm>
          <a:prstGeom prst="rect">
            <a:avLst/>
          </a:prstGeom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5D895CA9-711A-4966-AB2C-B2ED7156D6E2}"/>
              </a:ext>
            </a:extLst>
          </p:cNvPr>
          <p:cNvCxnSpPr>
            <a:cxnSpLocks/>
          </p:cNvCxnSpPr>
          <p:nvPr/>
        </p:nvCxnSpPr>
        <p:spPr>
          <a:xfrm flipV="1">
            <a:off x="2428311" y="2379067"/>
            <a:ext cx="1015366" cy="737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object 76">
            <a:extLst>
              <a:ext uri="{FF2B5EF4-FFF2-40B4-BE49-F238E27FC236}">
                <a16:creationId xmlns:a16="http://schemas.microsoft.com/office/drawing/2014/main" id="{CD328B87-4A7C-4124-9E82-B61EB405F37B}"/>
              </a:ext>
            </a:extLst>
          </p:cNvPr>
          <p:cNvGrpSpPr/>
          <p:nvPr/>
        </p:nvGrpSpPr>
        <p:grpSpPr>
          <a:xfrm>
            <a:off x="3374907" y="2906725"/>
            <a:ext cx="908484" cy="575960"/>
            <a:chOff x="5025083" y="10290049"/>
            <a:chExt cx="1783694" cy="1061715"/>
          </a:xfrm>
        </p:grpSpPr>
        <p:sp>
          <p:nvSpPr>
            <p:cNvPr id="98" name="object 77">
              <a:extLst>
                <a:ext uri="{FF2B5EF4-FFF2-40B4-BE49-F238E27FC236}">
                  <a16:creationId xmlns:a16="http://schemas.microsoft.com/office/drawing/2014/main" id="{46405D16-DA4F-4388-8789-771888974CA3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9" name="object 78">
              <a:extLst>
                <a:ext uri="{FF2B5EF4-FFF2-40B4-BE49-F238E27FC236}">
                  <a16:creationId xmlns:a16="http://schemas.microsoft.com/office/drawing/2014/main" id="{32EE5E7B-0F6C-4715-8DCE-303CBAC18937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" name="object 79">
              <a:extLst>
                <a:ext uri="{FF2B5EF4-FFF2-40B4-BE49-F238E27FC236}">
                  <a16:creationId xmlns:a16="http://schemas.microsoft.com/office/drawing/2014/main" id="{941F2612-F4CB-49BF-8A96-F2DF0056C0FD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" name="object 80">
              <a:extLst>
                <a:ext uri="{FF2B5EF4-FFF2-40B4-BE49-F238E27FC236}">
                  <a16:creationId xmlns:a16="http://schemas.microsoft.com/office/drawing/2014/main" id="{C393D661-D2F9-4CC1-A270-1A0774C20198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" name="object 81">
              <a:extLst>
                <a:ext uri="{FF2B5EF4-FFF2-40B4-BE49-F238E27FC236}">
                  <a16:creationId xmlns:a16="http://schemas.microsoft.com/office/drawing/2014/main" id="{9CE5B03A-3894-4596-B75F-979F479221B2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993D625F-43EE-4045-AB6C-581C0D19B965}"/>
              </a:ext>
            </a:extLst>
          </p:cNvPr>
          <p:cNvCxnSpPr>
            <a:cxnSpLocks/>
          </p:cNvCxnSpPr>
          <p:nvPr/>
        </p:nvCxnSpPr>
        <p:spPr>
          <a:xfrm>
            <a:off x="624230" y="2145982"/>
            <a:ext cx="8005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33C77886-8F55-4DB9-BB1E-29C372CBA2F7}"/>
              </a:ext>
            </a:extLst>
          </p:cNvPr>
          <p:cNvCxnSpPr>
            <a:cxnSpLocks/>
          </p:cNvCxnSpPr>
          <p:nvPr/>
        </p:nvCxnSpPr>
        <p:spPr>
          <a:xfrm flipH="1">
            <a:off x="580392" y="2620240"/>
            <a:ext cx="8479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val 117">
            <a:extLst>
              <a:ext uri="{FF2B5EF4-FFF2-40B4-BE49-F238E27FC236}">
                <a16:creationId xmlns:a16="http://schemas.microsoft.com/office/drawing/2014/main" id="{4A8FBC9B-995F-4060-9DE3-218174141A3A}"/>
              </a:ext>
            </a:extLst>
          </p:cNvPr>
          <p:cNvSpPr/>
          <p:nvPr/>
        </p:nvSpPr>
        <p:spPr>
          <a:xfrm>
            <a:off x="14672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IN" dirty="0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EE47075-1FCA-469C-BA64-0D11DA108327}"/>
              </a:ext>
            </a:extLst>
          </p:cNvPr>
          <p:cNvSpPr/>
          <p:nvPr/>
        </p:nvSpPr>
        <p:spPr>
          <a:xfrm>
            <a:off x="5541037" y="1115980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A1E45BF-A062-404F-B094-DB5D34405D83}"/>
              </a:ext>
            </a:extLst>
          </p:cNvPr>
          <p:cNvCxnSpPr>
            <a:cxnSpLocks/>
            <a:stCxn id="13" idx="3"/>
            <a:endCxn id="119" idx="1"/>
          </p:cNvCxnSpPr>
          <p:nvPr/>
        </p:nvCxnSpPr>
        <p:spPr>
          <a:xfrm flipV="1">
            <a:off x="4643895" y="2345349"/>
            <a:ext cx="897142" cy="5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4" name="Graphic 133" descr="Database">
            <a:extLst>
              <a:ext uri="{FF2B5EF4-FFF2-40B4-BE49-F238E27FC236}">
                <a16:creationId xmlns:a16="http://schemas.microsoft.com/office/drawing/2014/main" id="{C239B06B-3473-4DF3-8BD0-927EC331D0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76041" y="2657449"/>
            <a:ext cx="914400" cy="914400"/>
          </a:xfrm>
          <a:prstGeom prst="rect">
            <a:avLst/>
          </a:prstGeom>
        </p:spPr>
      </p:pic>
      <p:pic>
        <p:nvPicPr>
          <p:cNvPr id="137" name="Graphic 136" descr="Customer review">
            <a:extLst>
              <a:ext uri="{FF2B5EF4-FFF2-40B4-BE49-F238E27FC236}">
                <a16:creationId xmlns:a16="http://schemas.microsoft.com/office/drawing/2014/main" id="{AA4D2816-0C0C-4078-B995-2A1E8BF897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66242" y="2864620"/>
            <a:ext cx="655918" cy="655918"/>
          </a:xfrm>
          <a:prstGeom prst="rect">
            <a:avLst/>
          </a:prstGeom>
        </p:spPr>
      </p:pic>
      <p:sp>
        <p:nvSpPr>
          <p:cNvPr id="204" name="Oval 203">
            <a:extLst>
              <a:ext uri="{FF2B5EF4-FFF2-40B4-BE49-F238E27FC236}">
                <a16:creationId xmlns:a16="http://schemas.microsoft.com/office/drawing/2014/main" id="{170A29AC-CC7F-4719-BC4D-CE648581A181}"/>
              </a:ext>
            </a:extLst>
          </p:cNvPr>
          <p:cNvSpPr/>
          <p:nvPr/>
        </p:nvSpPr>
        <p:spPr>
          <a:xfrm>
            <a:off x="117419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  <a:endParaRPr lang="en-IN" dirty="0"/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BDA5C445-0BD4-4C7D-B25B-D5C1539F328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19309" y="4717007"/>
            <a:ext cx="2852643" cy="1401514"/>
          </a:xfrm>
          <a:prstGeom prst="rect">
            <a:avLst/>
          </a:prstGeom>
        </p:spPr>
      </p:pic>
      <p:pic>
        <p:nvPicPr>
          <p:cNvPr id="10" name="Graphic 9" descr="Internet">
            <a:extLst>
              <a:ext uri="{FF2B5EF4-FFF2-40B4-BE49-F238E27FC236}">
                <a16:creationId xmlns:a16="http://schemas.microsoft.com/office/drawing/2014/main" id="{57B20B77-FE29-4667-866C-EB7DDD93F7E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2009" y="1857146"/>
            <a:ext cx="824032" cy="824032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229D2A0-5AA1-46EF-BD29-FDF51D996398}"/>
              </a:ext>
            </a:extLst>
          </p:cNvPr>
          <p:cNvCxnSpPr/>
          <p:nvPr/>
        </p:nvCxnSpPr>
        <p:spPr>
          <a:xfrm flipH="1">
            <a:off x="6176600" y="1688827"/>
            <a:ext cx="598882" cy="32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Graphic 88" descr="Internet">
            <a:extLst>
              <a:ext uri="{FF2B5EF4-FFF2-40B4-BE49-F238E27FC236}">
                <a16:creationId xmlns:a16="http://schemas.microsoft.com/office/drawing/2014/main" id="{CB71A04B-6D0E-47FA-B8F1-6B622E2EBE6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530613" y="1841614"/>
            <a:ext cx="824032" cy="786223"/>
          </a:xfrm>
          <a:prstGeom prst="rect">
            <a:avLst/>
          </a:prstGeom>
        </p:spPr>
      </p:pic>
      <p:pic>
        <p:nvPicPr>
          <p:cNvPr id="90" name="Graphic 89" descr="Internet">
            <a:extLst>
              <a:ext uri="{FF2B5EF4-FFF2-40B4-BE49-F238E27FC236}">
                <a16:creationId xmlns:a16="http://schemas.microsoft.com/office/drawing/2014/main" id="{DC5ECDD8-2030-477C-AEBB-4EB4B0D56F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456444" y="1857146"/>
            <a:ext cx="824032" cy="824032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2B3463D-6FEB-43E1-BB5E-A87CF3D2C968}"/>
              </a:ext>
            </a:extLst>
          </p:cNvPr>
          <p:cNvCxnSpPr>
            <a:cxnSpLocks/>
          </p:cNvCxnSpPr>
          <p:nvPr/>
        </p:nvCxnSpPr>
        <p:spPr>
          <a:xfrm>
            <a:off x="7159237" y="1706553"/>
            <a:ext cx="580169" cy="305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1CC7AD4-CBA3-4E94-85B3-A9E9AF4AF9EC}"/>
              </a:ext>
            </a:extLst>
          </p:cNvPr>
          <p:cNvCxnSpPr/>
          <p:nvPr/>
        </p:nvCxnSpPr>
        <p:spPr>
          <a:xfrm>
            <a:off x="6064025" y="2519368"/>
            <a:ext cx="0" cy="1587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264C76-6EA6-49A4-9B5A-80216308ADB1}"/>
              </a:ext>
            </a:extLst>
          </p:cNvPr>
          <p:cNvCxnSpPr>
            <a:cxnSpLocks/>
            <a:endCxn id="90" idx="2"/>
          </p:cNvCxnSpPr>
          <p:nvPr/>
        </p:nvCxnSpPr>
        <p:spPr>
          <a:xfrm>
            <a:off x="6064025" y="2678094"/>
            <a:ext cx="1804435" cy="30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D8BFBED-3C7A-4024-A596-6D55232A58AC}"/>
              </a:ext>
            </a:extLst>
          </p:cNvPr>
          <p:cNvCxnSpPr/>
          <p:nvPr/>
        </p:nvCxnSpPr>
        <p:spPr>
          <a:xfrm>
            <a:off x="7868460" y="2518584"/>
            <a:ext cx="0" cy="1711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20F9656-5044-4B9B-8E6C-7966CE91C5FF}"/>
              </a:ext>
            </a:extLst>
          </p:cNvPr>
          <p:cNvCxnSpPr/>
          <p:nvPr/>
        </p:nvCxnSpPr>
        <p:spPr>
          <a:xfrm>
            <a:off x="6967359" y="2445604"/>
            <a:ext cx="0" cy="41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3959BA23-381F-4213-A318-6CD3CA403A36}"/>
              </a:ext>
            </a:extLst>
          </p:cNvPr>
          <p:cNvSpPr/>
          <p:nvPr/>
        </p:nvSpPr>
        <p:spPr>
          <a:xfrm>
            <a:off x="9240599" y="1111111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120" name="Graphic 119" descr="Internet">
            <a:extLst>
              <a:ext uri="{FF2B5EF4-FFF2-40B4-BE49-F238E27FC236}">
                <a16:creationId xmlns:a16="http://schemas.microsoft.com/office/drawing/2014/main" id="{E50162B4-E0C0-480C-8F8C-1BE6C7DD56F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294208" y="2053526"/>
            <a:ext cx="750193" cy="715383"/>
          </a:xfrm>
          <a:prstGeom prst="rect">
            <a:avLst/>
          </a:prstGeom>
        </p:spPr>
      </p:pic>
      <p:pic>
        <p:nvPicPr>
          <p:cNvPr id="122" name="Graphic 121" descr="Chat RTL">
            <a:extLst>
              <a:ext uri="{FF2B5EF4-FFF2-40B4-BE49-F238E27FC236}">
                <a16:creationId xmlns:a16="http://schemas.microsoft.com/office/drawing/2014/main" id="{3ADE9CE5-5895-4B65-8273-5713F73232C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416520" y="2937851"/>
            <a:ext cx="738907" cy="571062"/>
          </a:xfrm>
          <a:prstGeom prst="rect">
            <a:avLst/>
          </a:prstGeom>
        </p:spPr>
      </p:pic>
      <p:sp>
        <p:nvSpPr>
          <p:cNvPr id="144" name="Oval 143">
            <a:extLst>
              <a:ext uri="{FF2B5EF4-FFF2-40B4-BE49-F238E27FC236}">
                <a16:creationId xmlns:a16="http://schemas.microsoft.com/office/drawing/2014/main" id="{724141DA-B3EB-4C09-ADC0-BF7C94D7D550}"/>
              </a:ext>
            </a:extLst>
          </p:cNvPr>
          <p:cNvSpPr/>
          <p:nvPr/>
        </p:nvSpPr>
        <p:spPr>
          <a:xfrm>
            <a:off x="9011230" y="4479688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  <a:endParaRPr lang="en-IN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5C5232DA-D6D8-48AE-911F-5DABC0BAA8FE}"/>
              </a:ext>
            </a:extLst>
          </p:cNvPr>
          <p:cNvSpPr/>
          <p:nvPr/>
        </p:nvSpPr>
        <p:spPr>
          <a:xfrm>
            <a:off x="5408715" y="3409411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IN" dirty="0"/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7584EA8-20CD-4BE4-966C-D6E8AD7F773F}"/>
              </a:ext>
            </a:extLst>
          </p:cNvPr>
          <p:cNvCxnSpPr>
            <a:cxnSpLocks/>
            <a:stCxn id="119" idx="3"/>
            <a:endCxn id="110" idx="1"/>
          </p:cNvCxnSpPr>
          <p:nvPr/>
        </p:nvCxnSpPr>
        <p:spPr>
          <a:xfrm flipV="1">
            <a:off x="8393680" y="2340480"/>
            <a:ext cx="846919" cy="4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5B349E19-B061-4275-B057-33CDF453D2EA}"/>
              </a:ext>
            </a:extLst>
          </p:cNvPr>
          <p:cNvCxnSpPr>
            <a:cxnSpLocks/>
          </p:cNvCxnSpPr>
          <p:nvPr/>
        </p:nvCxnSpPr>
        <p:spPr>
          <a:xfrm rot="5400000">
            <a:off x="6881761" y="-253263"/>
            <a:ext cx="5536" cy="7705236"/>
          </a:xfrm>
          <a:prstGeom prst="bentConnector3">
            <a:avLst>
              <a:gd name="adj1" fmla="val 1354618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4" name="Picture 153">
            <a:extLst>
              <a:ext uri="{FF2B5EF4-FFF2-40B4-BE49-F238E27FC236}">
                <a16:creationId xmlns:a16="http://schemas.microsoft.com/office/drawing/2014/main" id="{209D2766-810A-4247-ACFA-DA0B39A7C84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90752" y="4758524"/>
            <a:ext cx="2603453" cy="1330654"/>
          </a:xfrm>
          <a:prstGeom prst="rect">
            <a:avLst/>
          </a:prstGeom>
        </p:spPr>
      </p:pic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D4D53733-485A-4F87-BEA5-D5AB46B1687C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6950512" y="5412557"/>
            <a:ext cx="2340240" cy="112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0153A63B-90D8-44AA-AC72-73F35F406042}"/>
              </a:ext>
            </a:extLst>
          </p:cNvPr>
          <p:cNvCxnSpPr>
            <a:cxnSpLocks/>
            <a:endCxn id="205" idx="3"/>
          </p:cNvCxnSpPr>
          <p:nvPr/>
        </p:nvCxnSpPr>
        <p:spPr>
          <a:xfrm flipH="1">
            <a:off x="4671952" y="5412557"/>
            <a:ext cx="1565859" cy="5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>
            <a:extLst>
              <a:ext uri="{FF2B5EF4-FFF2-40B4-BE49-F238E27FC236}">
                <a16:creationId xmlns:a16="http://schemas.microsoft.com/office/drawing/2014/main" id="{BFE840DC-FDF4-4380-BF56-65B51529EBAD}"/>
              </a:ext>
            </a:extLst>
          </p:cNvPr>
          <p:cNvSpPr/>
          <p:nvPr/>
        </p:nvSpPr>
        <p:spPr>
          <a:xfrm>
            <a:off x="1448457" y="4640726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  <a:endParaRPr lang="en-IN" dirty="0"/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70FB116-60F6-4D67-A267-B20EBEEE7B11}"/>
              </a:ext>
            </a:extLst>
          </p:cNvPr>
          <p:cNvSpPr txBox="1"/>
          <p:nvPr/>
        </p:nvSpPr>
        <p:spPr>
          <a:xfrm>
            <a:off x="2234595" y="4505666"/>
            <a:ext cx="217276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/>
              <a:t>Performance &amp; QC Dashboard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3C3B7F1-C1C9-4892-87FF-8480F45BD929}"/>
              </a:ext>
            </a:extLst>
          </p:cNvPr>
          <p:cNvSpPr txBox="1"/>
          <p:nvPr/>
        </p:nvSpPr>
        <p:spPr>
          <a:xfrm>
            <a:off x="6265843" y="4869363"/>
            <a:ext cx="10192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b="1" dirty="0"/>
              <a:t>A2019 Bo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B92C38B3-6902-456C-8043-E49F1E01A1CC}"/>
              </a:ext>
            </a:extLst>
          </p:cNvPr>
          <p:cNvSpPr txBox="1"/>
          <p:nvPr/>
        </p:nvSpPr>
        <p:spPr>
          <a:xfrm>
            <a:off x="3073578" y="1217197"/>
            <a:ext cx="15083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rgbClr val="00B0F0"/>
                </a:solidFill>
              </a:rPr>
              <a:t>Cloud Telephony          Server *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17DD781-E223-4954-83E6-9790D46CB52D}"/>
              </a:ext>
            </a:extLst>
          </p:cNvPr>
          <p:cNvSpPr txBox="1"/>
          <p:nvPr/>
        </p:nvSpPr>
        <p:spPr>
          <a:xfrm>
            <a:off x="5649636" y="1294821"/>
            <a:ext cx="11494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Bot works on  multiple target applications to get customer details.</a:t>
            </a:r>
          </a:p>
        </p:txBody>
      </p:sp>
      <p:pic>
        <p:nvPicPr>
          <p:cNvPr id="193" name="Graphic 192">
            <a:extLst>
              <a:ext uri="{FF2B5EF4-FFF2-40B4-BE49-F238E27FC236}">
                <a16:creationId xmlns:a16="http://schemas.microsoft.com/office/drawing/2014/main" id="{4A455156-1945-42EE-A9EF-E98129B1DC1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450502" y="2064340"/>
            <a:ext cx="594360" cy="59436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B8367F9F-6DB7-4A04-98DF-52E7F80A1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3387" y="1999804"/>
            <a:ext cx="793754" cy="793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EFD98E52-0108-4DB4-A4B2-AC377CC5E366}"/>
              </a:ext>
            </a:extLst>
          </p:cNvPr>
          <p:cNvCxnSpPr>
            <a:cxnSpLocks/>
          </p:cNvCxnSpPr>
          <p:nvPr/>
        </p:nvCxnSpPr>
        <p:spPr>
          <a:xfrm flipV="1">
            <a:off x="9962208" y="2391489"/>
            <a:ext cx="551223" cy="98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FE4705CC-10E3-461B-B43C-6EB6466E7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088" y="1142957"/>
            <a:ext cx="793755" cy="78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3F8EB7FD-16EA-4A02-8EB7-354EDA9B554B}"/>
              </a:ext>
            </a:extLst>
          </p:cNvPr>
          <p:cNvCxnSpPr>
            <a:cxnSpLocks/>
          </p:cNvCxnSpPr>
          <p:nvPr/>
        </p:nvCxnSpPr>
        <p:spPr>
          <a:xfrm flipV="1">
            <a:off x="9747682" y="3177304"/>
            <a:ext cx="761436" cy="7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" name="Picture 2">
            <a:extLst>
              <a:ext uri="{FF2B5EF4-FFF2-40B4-BE49-F238E27FC236}">
                <a16:creationId xmlns:a16="http://schemas.microsoft.com/office/drawing/2014/main" id="{D06FF949-B62B-4E57-A033-307B1BC38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02" y="1129431"/>
            <a:ext cx="702613" cy="70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TextBox 206">
            <a:extLst>
              <a:ext uri="{FF2B5EF4-FFF2-40B4-BE49-F238E27FC236}">
                <a16:creationId xmlns:a16="http://schemas.microsoft.com/office/drawing/2014/main" id="{49287746-EEEE-4565-B07D-E001652D2A57}"/>
              </a:ext>
            </a:extLst>
          </p:cNvPr>
          <p:cNvSpPr txBox="1"/>
          <p:nvPr/>
        </p:nvSpPr>
        <p:spPr>
          <a:xfrm>
            <a:off x="10428394" y="3429000"/>
            <a:ext cx="7937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ending SMS</a:t>
            </a:r>
          </a:p>
        </p:txBody>
      </p:sp>
      <p:pic>
        <p:nvPicPr>
          <p:cNvPr id="211" name="Picture 2">
            <a:extLst>
              <a:ext uri="{FF2B5EF4-FFF2-40B4-BE49-F238E27FC236}">
                <a16:creationId xmlns:a16="http://schemas.microsoft.com/office/drawing/2014/main" id="{5ADA4A0D-6E37-40D9-B4D9-C3AEAB9E0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613" y="5034868"/>
            <a:ext cx="805832" cy="805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8" name="TextBox 207">
            <a:extLst>
              <a:ext uri="{FF2B5EF4-FFF2-40B4-BE49-F238E27FC236}">
                <a16:creationId xmlns:a16="http://schemas.microsoft.com/office/drawing/2014/main" id="{0BAC6640-78C5-4EC1-90D3-28557AB44DA8}"/>
              </a:ext>
            </a:extLst>
          </p:cNvPr>
          <p:cNvSpPr txBox="1"/>
          <p:nvPr/>
        </p:nvSpPr>
        <p:spPr>
          <a:xfrm>
            <a:off x="10914001" y="1480530"/>
            <a:ext cx="1140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gent receives a call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29BDADA-D0C1-4631-BE44-AB3757DAD005}"/>
              </a:ext>
            </a:extLst>
          </p:cNvPr>
          <p:cNvSpPr txBox="1"/>
          <p:nvPr/>
        </p:nvSpPr>
        <p:spPr>
          <a:xfrm>
            <a:off x="11417052" y="1851135"/>
            <a:ext cx="60452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Target Application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C3314EA3-9D84-4719-9C27-2FA9E62FBAF2}"/>
              </a:ext>
            </a:extLst>
          </p:cNvPr>
          <p:cNvSpPr txBox="1"/>
          <p:nvPr/>
        </p:nvSpPr>
        <p:spPr>
          <a:xfrm>
            <a:off x="10428394" y="2704764"/>
            <a:ext cx="7228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A3BAB68B-BC44-42D9-9401-4CD02CDB0804}"/>
              </a:ext>
            </a:extLst>
          </p:cNvPr>
          <p:cNvCxnSpPr>
            <a:cxnSpLocks/>
          </p:cNvCxnSpPr>
          <p:nvPr/>
        </p:nvCxnSpPr>
        <p:spPr>
          <a:xfrm>
            <a:off x="6960109" y="1648765"/>
            <a:ext cx="5016" cy="3588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8" name="TextBox 217">
            <a:extLst>
              <a:ext uri="{FF2B5EF4-FFF2-40B4-BE49-F238E27FC236}">
                <a16:creationId xmlns:a16="http://schemas.microsoft.com/office/drawing/2014/main" id="{18EC3556-291B-4508-B3B2-F93DAB7D40FE}"/>
              </a:ext>
            </a:extLst>
          </p:cNvPr>
          <p:cNvSpPr txBox="1"/>
          <p:nvPr/>
        </p:nvSpPr>
        <p:spPr>
          <a:xfrm>
            <a:off x="6064346" y="2554304"/>
            <a:ext cx="1804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toring customer information in DB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893B3737-48F7-4C0D-854F-EC88CFEBE54E}"/>
              </a:ext>
            </a:extLst>
          </p:cNvPr>
          <p:cNvSpPr txBox="1"/>
          <p:nvPr/>
        </p:nvSpPr>
        <p:spPr>
          <a:xfrm>
            <a:off x="7217892" y="1416255"/>
            <a:ext cx="6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25A9145E-2546-4AC0-82D9-85117B2579FF}"/>
              </a:ext>
            </a:extLst>
          </p:cNvPr>
          <p:cNvSpPr txBox="1"/>
          <p:nvPr/>
        </p:nvSpPr>
        <p:spPr>
          <a:xfrm>
            <a:off x="5477286" y="4181512"/>
            <a:ext cx="32297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Requesting POST API call for sending SMS on Customer Mobile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6C966A6C-F6C8-4896-9B47-5B9693546487}"/>
              </a:ext>
            </a:extLst>
          </p:cNvPr>
          <p:cNvSpPr txBox="1"/>
          <p:nvPr/>
        </p:nvSpPr>
        <p:spPr>
          <a:xfrm>
            <a:off x="558072" y="2744931"/>
            <a:ext cx="10056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MS notification sent to Custome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548D4FE2-1215-4B8D-AE37-8F63D7CC69EE}"/>
              </a:ext>
            </a:extLst>
          </p:cNvPr>
          <p:cNvSpPr txBox="1"/>
          <p:nvPr/>
        </p:nvSpPr>
        <p:spPr>
          <a:xfrm>
            <a:off x="620798" y="1943349"/>
            <a:ext cx="80397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ustomer Calls 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C428FA0-8C63-4B33-A349-5AE5A57397C3}"/>
              </a:ext>
            </a:extLst>
          </p:cNvPr>
          <p:cNvSpPr txBox="1"/>
          <p:nvPr/>
        </p:nvSpPr>
        <p:spPr>
          <a:xfrm>
            <a:off x="9450502" y="4519341"/>
            <a:ext cx="27414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all Details fetched and Audio call stored in AWS S3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CD1E1C71-F28C-4241-9AAD-7C6AF1B1678D}"/>
              </a:ext>
            </a:extLst>
          </p:cNvPr>
          <p:cNvSpPr txBox="1"/>
          <p:nvPr/>
        </p:nvSpPr>
        <p:spPr>
          <a:xfrm>
            <a:off x="7159237" y="5234789"/>
            <a:ext cx="22593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PI to download recorded audio call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339A0065-4AF6-49F9-B445-70D61A7AA53B}"/>
              </a:ext>
            </a:extLst>
          </p:cNvPr>
          <p:cNvSpPr txBox="1"/>
          <p:nvPr/>
        </p:nvSpPr>
        <p:spPr>
          <a:xfrm>
            <a:off x="4795416" y="5013128"/>
            <a:ext cx="14912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Bot converts Audio to text.</a:t>
            </a:r>
          </a:p>
          <a:p>
            <a:pPr algn="l"/>
            <a:r>
              <a:rPr lang="en-US" sz="800" dirty="0"/>
              <a:t>Compare with SOP for Call Quality</a:t>
            </a:r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2C21403C-8FBA-4891-8DE5-8D6DE7357749}"/>
              </a:ext>
            </a:extLst>
          </p:cNvPr>
          <p:cNvCxnSpPr>
            <a:cxnSpLocks/>
          </p:cNvCxnSpPr>
          <p:nvPr/>
        </p:nvCxnSpPr>
        <p:spPr>
          <a:xfrm>
            <a:off x="2436841" y="3146902"/>
            <a:ext cx="9218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57666C64-E161-472D-90CF-0063DD5713B2}"/>
              </a:ext>
            </a:extLst>
          </p:cNvPr>
          <p:cNvSpPr txBox="1"/>
          <p:nvPr/>
        </p:nvSpPr>
        <p:spPr>
          <a:xfrm>
            <a:off x="1494820" y="2714360"/>
            <a:ext cx="1072119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800" dirty="0">
              <a:latin typeface="Arial Black"/>
              <a:cs typeface="Arial Black"/>
            </a:endParaRPr>
          </a:p>
          <a:p>
            <a:pPr algn="l"/>
            <a:endParaRPr lang="en-US" dirty="0" err="1"/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59B3336A-74E4-44DA-82A4-0B43E8E04642}"/>
              </a:ext>
            </a:extLst>
          </p:cNvPr>
          <p:cNvSpPr txBox="1"/>
          <p:nvPr/>
        </p:nvSpPr>
        <p:spPr>
          <a:xfrm>
            <a:off x="2167626" y="2407890"/>
            <a:ext cx="9988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Passthru update the caller details in Gsheet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E0DEF60-A586-44A1-BCAE-CFCB4BBF71E6}"/>
              </a:ext>
            </a:extLst>
          </p:cNvPr>
          <p:cNvSpPr txBox="1"/>
          <p:nvPr/>
        </p:nvSpPr>
        <p:spPr>
          <a:xfrm>
            <a:off x="2529458" y="3192252"/>
            <a:ext cx="6986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Transferring call to Agent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05C03A88-79B9-4955-80C4-279B758FE063}"/>
              </a:ext>
            </a:extLst>
          </p:cNvPr>
          <p:cNvSpPr txBox="1"/>
          <p:nvPr/>
        </p:nvSpPr>
        <p:spPr>
          <a:xfrm>
            <a:off x="4747598" y="1804535"/>
            <a:ext cx="74625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RIOR Call Transfer to Agent</a:t>
            </a:r>
          </a:p>
        </p:txBody>
      </p:sp>
      <p:pic>
        <p:nvPicPr>
          <p:cNvPr id="252" name="Graphic 251" descr="Envelope">
            <a:extLst>
              <a:ext uri="{FF2B5EF4-FFF2-40B4-BE49-F238E27FC236}">
                <a16:creationId xmlns:a16="http://schemas.microsoft.com/office/drawing/2014/main" id="{6C847B12-F52F-43F0-8573-D77BB77BA06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718969" y="1687969"/>
            <a:ext cx="688487" cy="688487"/>
          </a:xfrm>
          <a:prstGeom prst="rect">
            <a:avLst/>
          </a:prstGeom>
        </p:spPr>
      </p:pic>
      <p:cxnSp>
        <p:nvCxnSpPr>
          <p:cNvPr id="5120" name="Connector: Elbow 5119">
            <a:extLst>
              <a:ext uri="{FF2B5EF4-FFF2-40B4-BE49-F238E27FC236}">
                <a16:creationId xmlns:a16="http://schemas.microsoft.com/office/drawing/2014/main" id="{7D3B5F18-2004-4FCC-828F-5C36E72798A9}"/>
              </a:ext>
            </a:extLst>
          </p:cNvPr>
          <p:cNvCxnSpPr>
            <a:cxnSpLocks/>
          </p:cNvCxnSpPr>
          <p:nvPr/>
        </p:nvCxnSpPr>
        <p:spPr>
          <a:xfrm rot="10800000">
            <a:off x="3359956" y="2032214"/>
            <a:ext cx="310770" cy="15140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1" name="TextBox 5120">
            <a:extLst>
              <a:ext uri="{FF2B5EF4-FFF2-40B4-BE49-F238E27FC236}">
                <a16:creationId xmlns:a16="http://schemas.microsoft.com/office/drawing/2014/main" id="{D894C35D-64F8-423C-95AE-0B42C5F47314}"/>
              </a:ext>
            </a:extLst>
          </p:cNvPr>
          <p:cNvSpPr txBox="1"/>
          <p:nvPr/>
        </p:nvSpPr>
        <p:spPr>
          <a:xfrm>
            <a:off x="3694310" y="1634033"/>
            <a:ext cx="8876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google apps script emails Customer Contact Details </a:t>
            </a:r>
          </a:p>
        </p:txBody>
      </p:sp>
      <p:sp>
        <p:nvSpPr>
          <p:cNvPr id="5128" name="TextBox 5127">
            <a:extLst>
              <a:ext uri="{FF2B5EF4-FFF2-40B4-BE49-F238E27FC236}">
                <a16:creationId xmlns:a16="http://schemas.microsoft.com/office/drawing/2014/main" id="{20415054-0436-4587-A729-F6C1F753E723}"/>
              </a:ext>
            </a:extLst>
          </p:cNvPr>
          <p:cNvSpPr txBox="1"/>
          <p:nvPr/>
        </p:nvSpPr>
        <p:spPr>
          <a:xfrm>
            <a:off x="9307743" y="1571161"/>
            <a:ext cx="8863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Pre-populated</a:t>
            </a:r>
          </a:p>
          <a:p>
            <a:pPr algn="l"/>
            <a:r>
              <a:rPr lang="en-US" sz="800" dirty="0"/>
              <a:t>Customer details updated in Interactive Form</a:t>
            </a:r>
          </a:p>
        </p:txBody>
      </p:sp>
      <p:cxnSp>
        <p:nvCxnSpPr>
          <p:cNvPr id="5136" name="Straight Arrow Connector 5135">
            <a:extLst>
              <a:ext uri="{FF2B5EF4-FFF2-40B4-BE49-F238E27FC236}">
                <a16:creationId xmlns:a16="http://schemas.microsoft.com/office/drawing/2014/main" id="{4C050F63-A7AF-4F85-88D6-CC98464AC030}"/>
              </a:ext>
            </a:extLst>
          </p:cNvPr>
          <p:cNvCxnSpPr>
            <a:cxnSpLocks/>
          </p:cNvCxnSpPr>
          <p:nvPr/>
        </p:nvCxnSpPr>
        <p:spPr>
          <a:xfrm flipV="1">
            <a:off x="10968829" y="2386373"/>
            <a:ext cx="441347" cy="54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9" name="Straight Arrow Connector 5138">
            <a:extLst>
              <a:ext uri="{FF2B5EF4-FFF2-40B4-BE49-F238E27FC236}">
                <a16:creationId xmlns:a16="http://schemas.microsoft.com/office/drawing/2014/main" id="{39B92E18-63E8-4752-8720-55E7CF1192C6}"/>
              </a:ext>
            </a:extLst>
          </p:cNvPr>
          <p:cNvCxnSpPr/>
          <p:nvPr/>
        </p:nvCxnSpPr>
        <p:spPr>
          <a:xfrm>
            <a:off x="11035080" y="3564711"/>
            <a:ext cx="0" cy="119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42" name="Picture 5141">
            <a:extLst>
              <a:ext uri="{FF2B5EF4-FFF2-40B4-BE49-F238E27FC236}">
                <a16:creationId xmlns:a16="http://schemas.microsoft.com/office/drawing/2014/main" id="{85B1D2A5-CC9A-482F-8BE7-6E58B958848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415781" y="3023364"/>
            <a:ext cx="819087" cy="448405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D5B546BF-0AFB-4B48-84BD-1A5699E85615}"/>
              </a:ext>
            </a:extLst>
          </p:cNvPr>
          <p:cNvSpPr txBox="1"/>
          <p:nvPr/>
        </p:nvSpPr>
        <p:spPr>
          <a:xfrm>
            <a:off x="8476506" y="1814665"/>
            <a:ext cx="74625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OST Call Transfer to Agent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4C35FC2-FBD1-4962-AD28-069926AD3D79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83710" y="513386"/>
            <a:ext cx="495727" cy="641249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D04A3FC8-8B40-4CCD-A2C7-B209F53167C1}"/>
              </a:ext>
            </a:extLst>
          </p:cNvPr>
          <p:cNvCxnSpPr>
            <a:cxnSpLocks/>
          </p:cNvCxnSpPr>
          <p:nvPr/>
        </p:nvCxnSpPr>
        <p:spPr>
          <a:xfrm flipV="1">
            <a:off x="10249694" y="3540403"/>
            <a:ext cx="0" cy="4270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D10CC851-4608-40A9-B67B-A1B4BCE3E4C1}"/>
              </a:ext>
            </a:extLst>
          </p:cNvPr>
          <p:cNvSpPr txBox="1"/>
          <p:nvPr/>
        </p:nvSpPr>
        <p:spPr>
          <a:xfrm>
            <a:off x="6217971" y="3799076"/>
            <a:ext cx="30973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CD transfer the call to Agent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94BEE37-3A60-4677-93BC-24C4E41FBBB2}"/>
              </a:ext>
            </a:extLst>
          </p:cNvPr>
          <p:cNvSpPr txBox="1"/>
          <p:nvPr/>
        </p:nvSpPr>
        <p:spPr>
          <a:xfrm>
            <a:off x="6635735" y="4426755"/>
            <a:ext cx="10192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After Call Work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9EF088A-00AD-4371-817B-D528D32CCBA9}"/>
              </a:ext>
            </a:extLst>
          </p:cNvPr>
          <p:cNvCxnSpPr/>
          <p:nvPr/>
        </p:nvCxnSpPr>
        <p:spPr>
          <a:xfrm>
            <a:off x="9772720" y="2800066"/>
            <a:ext cx="672" cy="25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22A548C3-0D65-4F2A-AAD5-BAB2DE4B3F45}"/>
              </a:ext>
            </a:extLst>
          </p:cNvPr>
          <p:cNvSpPr txBox="1"/>
          <p:nvPr/>
        </p:nvSpPr>
        <p:spPr>
          <a:xfrm>
            <a:off x="10416520" y="4023118"/>
            <a:ext cx="11300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OST call Hang up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38BF1BD9-FF35-4E4A-9AFF-634A25155D66}"/>
              </a:ext>
            </a:extLst>
          </p:cNvPr>
          <p:cNvSpPr txBox="1"/>
          <p:nvPr/>
        </p:nvSpPr>
        <p:spPr>
          <a:xfrm>
            <a:off x="4750369" y="2434566"/>
            <a:ext cx="7982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>
                <a:solidFill>
                  <a:srgbClr val="0070C0"/>
                </a:solidFill>
              </a:rPr>
              <a:t>Un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0BE1F0C8-44C4-40B4-BDD1-91CD31F257F2}"/>
              </a:ext>
            </a:extLst>
          </p:cNvPr>
          <p:cNvSpPr txBox="1"/>
          <p:nvPr/>
        </p:nvSpPr>
        <p:spPr>
          <a:xfrm>
            <a:off x="8476506" y="2455974"/>
            <a:ext cx="7982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gent triggers </a:t>
            </a:r>
            <a:r>
              <a:rPr lang="en-US" sz="800" dirty="0">
                <a:solidFill>
                  <a:srgbClr val="0070C0"/>
                </a:solidFill>
              </a:rPr>
              <a:t>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CF7ABF2-998F-4239-978D-23ADB0CACF0E}"/>
              </a:ext>
            </a:extLst>
          </p:cNvPr>
          <p:cNvSpPr txBox="1"/>
          <p:nvPr/>
        </p:nvSpPr>
        <p:spPr>
          <a:xfrm>
            <a:off x="4802989" y="5534860"/>
            <a:ext cx="14912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all Details &amp; Call Quality percentage sent on Bot Insight</a:t>
            </a: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E7D3AF26-5DE0-4D47-B416-500E39DC1570}"/>
              </a:ext>
            </a:extLst>
          </p:cNvPr>
          <p:cNvCxnSpPr>
            <a:cxnSpLocks/>
          </p:cNvCxnSpPr>
          <p:nvPr/>
        </p:nvCxnSpPr>
        <p:spPr>
          <a:xfrm flipV="1">
            <a:off x="9760845" y="2658700"/>
            <a:ext cx="0" cy="5259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97065441-2258-4E06-A05D-67BA237D57E9}"/>
              </a:ext>
            </a:extLst>
          </p:cNvPr>
          <p:cNvSpPr txBox="1"/>
          <p:nvPr/>
        </p:nvSpPr>
        <p:spPr>
          <a:xfrm>
            <a:off x="452193" y="6406928"/>
            <a:ext cx="4956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dirty="0"/>
              <a:t>*Any </a:t>
            </a:r>
            <a:r>
              <a:rPr lang="en-US" sz="1000" dirty="0">
                <a:solidFill>
                  <a:srgbClr val="00B0F0"/>
                </a:solidFill>
              </a:rPr>
              <a:t>Cloud Telephony System </a:t>
            </a:r>
            <a:r>
              <a:rPr lang="en-US" sz="1000" dirty="0"/>
              <a:t>can be Integrated. </a:t>
            </a:r>
            <a:r>
              <a:rPr lang="en-US" sz="1000" dirty="0" err="1"/>
              <a:t>e.g</a:t>
            </a:r>
            <a:r>
              <a:rPr lang="en-US" sz="1000" dirty="0"/>
              <a:t> </a:t>
            </a:r>
            <a:r>
              <a:rPr lang="en-US" sz="1000" dirty="0" err="1"/>
              <a:t>Exotel</a:t>
            </a:r>
            <a:r>
              <a:rPr lang="en-US" sz="1000" dirty="0"/>
              <a:t>, </a:t>
            </a:r>
            <a:r>
              <a:rPr lang="en-US" sz="1000" dirty="0" err="1"/>
              <a:t>Twillio</a:t>
            </a:r>
            <a:r>
              <a:rPr lang="en-US" sz="1000" dirty="0"/>
              <a:t>, Avaya</a:t>
            </a:r>
          </a:p>
        </p:txBody>
      </p:sp>
    </p:spTree>
    <p:extLst>
      <p:ext uri="{BB962C8B-B14F-4D97-AF65-F5344CB8AC3E}">
        <p14:creationId xmlns:p14="http://schemas.microsoft.com/office/powerpoint/2010/main" val="167727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8" grpId="0" animBg="1"/>
      <p:bldP spid="204" grpId="0" animBg="1"/>
      <p:bldP spid="144" grpId="0" animBg="1"/>
      <p:bldP spid="145" grpId="0" animBg="1"/>
      <p:bldP spid="17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8A5A858B-8406-4517-B7E6-115C6C897D8B}"/>
              </a:ext>
            </a:extLst>
          </p:cNvPr>
          <p:cNvSpPr txBox="1"/>
          <p:nvPr/>
        </p:nvSpPr>
        <p:spPr>
          <a:xfrm>
            <a:off x="255869" y="218746"/>
            <a:ext cx="116489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  <a:latin typeface="+mj-lt"/>
              </a:rPr>
              <a:t>1. Contact Center – Voice Calls + RPA Integration (A2019)</a:t>
            </a:r>
            <a:endParaRPr lang="en-IN" sz="2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2AC258-DDAF-4B19-83C4-E30403C2F127}"/>
              </a:ext>
            </a:extLst>
          </p:cNvPr>
          <p:cNvSpPr txBox="1"/>
          <p:nvPr/>
        </p:nvSpPr>
        <p:spPr>
          <a:xfrm>
            <a:off x="10086504" y="3226982"/>
            <a:ext cx="174006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FCR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21A6D3E-8579-4758-8F44-A0224D526E6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86544" y="3113817"/>
            <a:ext cx="323798" cy="306228"/>
          </a:xfrm>
          <a:prstGeom prst="rect">
            <a:avLst/>
          </a:prstGeom>
          <a:solidFill>
            <a:srgbClr val="174555"/>
          </a:solidFill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27E820-AA70-40A0-9982-1F5AFD5567CD}"/>
              </a:ext>
            </a:extLst>
          </p:cNvPr>
          <p:cNvSpPr txBox="1"/>
          <p:nvPr/>
        </p:nvSpPr>
        <p:spPr>
          <a:xfrm>
            <a:off x="10086504" y="3684757"/>
            <a:ext cx="124816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algn="l"/>
            <a:r>
              <a:rPr lang="en-US" sz="1000" dirty="0"/>
              <a:t>REDUCE AHT</a:t>
            </a:r>
            <a:endParaRPr lang="en-IN" sz="1000" dirty="0" err="1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A3D9B1-CE45-4383-856B-25C377B88B88}"/>
              </a:ext>
            </a:extLst>
          </p:cNvPr>
          <p:cNvSpPr txBox="1"/>
          <p:nvPr/>
        </p:nvSpPr>
        <p:spPr>
          <a:xfrm>
            <a:off x="10086504" y="4114662"/>
            <a:ext cx="153059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E48219F-39F6-447C-A487-2B4022F8263F}"/>
              </a:ext>
            </a:extLst>
          </p:cNvPr>
          <p:cNvSpPr txBox="1"/>
          <p:nvPr/>
        </p:nvSpPr>
        <p:spPr>
          <a:xfrm>
            <a:off x="10086504" y="2700915"/>
            <a:ext cx="1818311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SELF SERVICE %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CCD004-E228-40C4-879C-54508296FCC9}"/>
              </a:ext>
            </a:extLst>
          </p:cNvPr>
          <p:cNvSpPr txBox="1"/>
          <p:nvPr/>
        </p:nvSpPr>
        <p:spPr>
          <a:xfrm>
            <a:off x="10086504" y="4496567"/>
            <a:ext cx="163115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E CALL ABANDONMEN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7" name="Graphic 56" descr="Stopwatch">
            <a:extLst>
              <a:ext uri="{FF2B5EF4-FFF2-40B4-BE49-F238E27FC236}">
                <a16:creationId xmlns:a16="http://schemas.microsoft.com/office/drawing/2014/main" id="{659A0E15-1282-4F31-B6CD-2BF0DD1AF1F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00427" y="3567349"/>
            <a:ext cx="323798" cy="339945"/>
          </a:xfrm>
          <a:prstGeom prst="rect">
            <a:avLst/>
          </a:prstGeom>
        </p:spPr>
      </p:pic>
      <p:pic>
        <p:nvPicPr>
          <p:cNvPr id="67" name="Graphic 66" descr="Rating 3 Star">
            <a:extLst>
              <a:ext uri="{FF2B5EF4-FFF2-40B4-BE49-F238E27FC236}">
                <a16:creationId xmlns:a16="http://schemas.microsoft.com/office/drawing/2014/main" id="{0488B5EB-E7D4-45F8-B6DE-7767D3E956E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50039" y="4017088"/>
            <a:ext cx="394739" cy="387598"/>
          </a:xfrm>
          <a:prstGeom prst="rect">
            <a:avLst/>
          </a:prstGeom>
        </p:spPr>
      </p:pic>
      <p:pic>
        <p:nvPicPr>
          <p:cNvPr id="68" name="Picture 8" descr="Abandoned Icons - Download Free Vector Icons | Noun Project">
            <a:extLst>
              <a:ext uri="{FF2B5EF4-FFF2-40B4-BE49-F238E27FC236}">
                <a16:creationId xmlns:a16="http://schemas.microsoft.com/office/drawing/2014/main" id="{C47D7984-98A5-44AA-A6FE-6B16E763A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3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705" y="4581889"/>
            <a:ext cx="182880" cy="222781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Hi-Tech Distribution – Hi-tech Distribution">
            <a:extLst>
              <a:ext uri="{FF2B5EF4-FFF2-40B4-BE49-F238E27FC236}">
                <a16:creationId xmlns:a16="http://schemas.microsoft.com/office/drawing/2014/main" id="{DB672F33-E5AE-4217-A782-FC6D24F2E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6852" y="2642915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2C2C3A54-8C5F-4B7F-B7A2-4EB5550A415E}"/>
              </a:ext>
            </a:extLst>
          </p:cNvPr>
          <p:cNvGrpSpPr/>
          <p:nvPr/>
        </p:nvGrpSpPr>
        <p:grpSpPr>
          <a:xfrm>
            <a:off x="176558" y="1100398"/>
            <a:ext cx="8979913" cy="4775201"/>
            <a:chOff x="57343" y="1092430"/>
            <a:chExt cx="10487329" cy="492434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180AA63-3EF4-4613-A781-C96319F6C425}"/>
                </a:ext>
              </a:extLst>
            </p:cNvPr>
            <p:cNvSpPr/>
            <p:nvPr/>
          </p:nvSpPr>
          <p:spPr>
            <a:xfrm>
              <a:off x="57343" y="1826502"/>
              <a:ext cx="1205591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ncoming/Outgoing Call*</a:t>
              </a:r>
              <a:endParaRPr lang="en-IN" sz="10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62A429A-EDCF-4AB1-9750-F663136A2341}"/>
                </a:ext>
              </a:extLst>
            </p:cNvPr>
            <p:cNvSpPr/>
            <p:nvPr/>
          </p:nvSpPr>
          <p:spPr>
            <a:xfrm>
              <a:off x="1594260" y="1826502"/>
              <a:ext cx="1132694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VR inputs*</a:t>
              </a:r>
              <a:endParaRPr lang="en-IN" sz="1050" dirty="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0093F-3615-4FFA-90A8-CED6159CC599}"/>
                </a:ext>
              </a:extLst>
            </p:cNvPr>
            <p:cNvSpPr/>
            <p:nvPr/>
          </p:nvSpPr>
          <p:spPr>
            <a:xfrm>
              <a:off x="4259805" y="1822488"/>
              <a:ext cx="1132694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will capture IVR inputs </a:t>
              </a:r>
              <a:endParaRPr lang="en-IN" sz="9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55B8DB0E-0883-4F4D-AF1B-752E56E0C07E}"/>
                </a:ext>
              </a:extLst>
            </p:cNvPr>
            <p:cNvCxnSpPr>
              <a:cxnSpLocks/>
              <a:stCxn id="4" idx="3"/>
              <a:endCxn id="5" idx="1"/>
            </p:cNvCxnSpPr>
            <p:nvPr/>
          </p:nvCxnSpPr>
          <p:spPr>
            <a:xfrm>
              <a:off x="1262934" y="2163781"/>
              <a:ext cx="3313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ADDA854-E92F-48F4-A45C-04B22BB25EA6}"/>
                </a:ext>
              </a:extLst>
            </p:cNvPr>
            <p:cNvCxnSpPr>
              <a:cxnSpLocks/>
              <a:stCxn id="5" idx="3"/>
              <a:endCxn id="6" idx="1"/>
            </p:cNvCxnSpPr>
            <p:nvPr/>
          </p:nvCxnSpPr>
          <p:spPr>
            <a:xfrm flipV="1">
              <a:off x="2726954" y="2159767"/>
              <a:ext cx="1532851" cy="40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9734802-7E09-4047-A471-E41415130A4C}"/>
                </a:ext>
              </a:extLst>
            </p:cNvPr>
            <p:cNvSpPr txBox="1"/>
            <p:nvPr/>
          </p:nvSpPr>
          <p:spPr>
            <a:xfrm>
              <a:off x="2696793" y="1647338"/>
              <a:ext cx="1304925" cy="380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Telephony API integration</a:t>
              </a:r>
              <a:endParaRPr lang="en-IN" sz="900" dirty="0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51FA6DA-4B53-4420-9784-0625C390D7CD}"/>
                </a:ext>
              </a:extLst>
            </p:cNvPr>
            <p:cNvSpPr/>
            <p:nvPr/>
          </p:nvSpPr>
          <p:spPr>
            <a:xfrm>
              <a:off x="5908673" y="183123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logins to application and executes the request</a:t>
              </a:r>
              <a:endParaRPr lang="en-IN" sz="900" dirty="0"/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BC57FA6-E5B5-4665-B32B-E9378DF810F4}"/>
                </a:ext>
              </a:extLst>
            </p:cNvPr>
            <p:cNvCxnSpPr>
              <a:stCxn id="6" idx="3"/>
              <a:endCxn id="22" idx="1"/>
            </p:cNvCxnSpPr>
            <p:nvPr/>
          </p:nvCxnSpPr>
          <p:spPr>
            <a:xfrm>
              <a:off x="5392499" y="2159767"/>
              <a:ext cx="516174" cy="8744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2686771-7C45-481E-BC5B-3CE0A420A5DA}"/>
                </a:ext>
              </a:extLst>
            </p:cNvPr>
            <p:cNvSpPr/>
            <p:nvPr/>
          </p:nvSpPr>
          <p:spPr>
            <a:xfrm>
              <a:off x="8453978" y="182650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sends SMS/Email/Voice Call back to Incoming caller</a:t>
              </a:r>
              <a:endParaRPr lang="en-IN" sz="900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0211E38-450B-4B0E-BFA0-E7FD4525E95E}"/>
                </a:ext>
              </a:extLst>
            </p:cNvPr>
            <p:cNvCxnSpPr>
              <a:cxnSpLocks/>
              <a:stCxn id="22" idx="3"/>
              <a:endCxn id="26" idx="1"/>
            </p:cNvCxnSpPr>
            <p:nvPr/>
          </p:nvCxnSpPr>
          <p:spPr>
            <a:xfrm flipV="1">
              <a:off x="7871914" y="2163781"/>
              <a:ext cx="582064" cy="473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456CF84F-6BB1-4AF6-BCC0-7E8980D09EC7}"/>
                </a:ext>
              </a:extLst>
            </p:cNvPr>
            <p:cNvSpPr/>
            <p:nvPr/>
          </p:nvSpPr>
          <p:spPr>
            <a:xfrm>
              <a:off x="4234068" y="3520741"/>
              <a:ext cx="1433858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Pre-populate customer details </a:t>
              </a:r>
              <a:endParaRPr lang="en-IN" sz="900" dirty="0"/>
            </a:p>
          </p:txBody>
        </p: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90610A80-C81F-43B0-9FF4-BF56CF34B8B7}"/>
                </a:ext>
              </a:extLst>
            </p:cNvPr>
            <p:cNvCxnSpPr>
              <a:cxnSpLocks/>
              <a:stCxn id="5" idx="3"/>
              <a:endCxn id="30" idx="1"/>
            </p:cNvCxnSpPr>
            <p:nvPr/>
          </p:nvCxnSpPr>
          <p:spPr>
            <a:xfrm>
              <a:off x="2726953" y="2163781"/>
              <a:ext cx="1507115" cy="169423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986432B0-B506-4B02-B94A-A3BA02148FE3}"/>
                </a:ext>
              </a:extLst>
            </p:cNvPr>
            <p:cNvCxnSpPr>
              <a:cxnSpLocks/>
              <a:stCxn id="5" idx="3"/>
              <a:endCxn id="61" idx="1"/>
            </p:cNvCxnSpPr>
            <p:nvPr/>
          </p:nvCxnSpPr>
          <p:spPr>
            <a:xfrm>
              <a:off x="2726954" y="2163781"/>
              <a:ext cx="1433858" cy="3362128"/>
            </a:xfrm>
            <a:prstGeom prst="bentConnector3">
              <a:avLst>
                <a:gd name="adj1" fmla="val 2266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7DD8CF1-5133-4CDB-BCCF-E9F3FD46107E}"/>
                </a:ext>
              </a:extLst>
            </p:cNvPr>
            <p:cNvSpPr/>
            <p:nvPr/>
          </p:nvSpPr>
          <p:spPr>
            <a:xfrm>
              <a:off x="4132127" y="1689984"/>
              <a:ext cx="6393960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4ADC38A-1D9E-4AD5-94A2-F8EF7C7DF107}"/>
                </a:ext>
              </a:extLst>
            </p:cNvPr>
            <p:cNvSpPr txBox="1"/>
            <p:nvPr/>
          </p:nvSpPr>
          <p:spPr>
            <a:xfrm>
              <a:off x="6957101" y="1280992"/>
              <a:ext cx="2592459" cy="351405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050" dirty="0"/>
                <a:t>1. Self Service Modules</a:t>
              </a:r>
              <a:endParaRPr lang="en-IN" sz="105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72247DC-B4C2-439A-BA94-CA946774A7E1}"/>
                </a:ext>
              </a:extLst>
            </p:cNvPr>
            <p:cNvSpPr/>
            <p:nvPr/>
          </p:nvSpPr>
          <p:spPr>
            <a:xfrm>
              <a:off x="4106387" y="3380828"/>
              <a:ext cx="6438285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7D10621-EA6B-4E2B-804A-CF60E020F117}"/>
                </a:ext>
              </a:extLst>
            </p:cNvPr>
            <p:cNvSpPr/>
            <p:nvPr/>
          </p:nvSpPr>
          <p:spPr>
            <a:xfrm>
              <a:off x="4033130" y="5048716"/>
              <a:ext cx="6511542" cy="96805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F2045DD5-66CE-44C6-BED7-CE6EABCF1643}"/>
                </a:ext>
              </a:extLst>
            </p:cNvPr>
            <p:cNvSpPr/>
            <p:nvPr/>
          </p:nvSpPr>
          <p:spPr>
            <a:xfrm>
              <a:off x="6140463" y="3520741"/>
              <a:ext cx="145691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tell Bot on the steps to be completed</a:t>
              </a:r>
              <a:endParaRPr lang="en-IN" sz="900" dirty="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5886DE58-0544-4E05-97ED-754611B752F0}"/>
                </a:ext>
              </a:extLst>
            </p:cNvPr>
            <p:cNvSpPr/>
            <p:nvPr/>
          </p:nvSpPr>
          <p:spPr>
            <a:xfrm>
              <a:off x="5996916" y="5170210"/>
              <a:ext cx="1963241" cy="365760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RM update</a:t>
              </a:r>
            </a:p>
            <a:p>
              <a:pPr algn="ctr"/>
              <a:r>
                <a:rPr lang="en-US" sz="900" dirty="0"/>
                <a:t> Notes/Next meeting/etc.</a:t>
              </a:r>
              <a:endParaRPr lang="en-IN" sz="900" dirty="0"/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21637934-D846-48C1-A5E6-03B1E5023EF6}"/>
                </a:ext>
              </a:extLst>
            </p:cNvPr>
            <p:cNvSpPr/>
            <p:nvPr/>
          </p:nvSpPr>
          <p:spPr>
            <a:xfrm>
              <a:off x="5996916" y="5594694"/>
              <a:ext cx="1963241" cy="327204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plete Action in ERP</a:t>
              </a:r>
            </a:p>
            <a:p>
              <a:pPr algn="ctr"/>
              <a:r>
                <a:rPr lang="en-US" sz="900" dirty="0"/>
                <a:t>ServiceDesk tool, etc.</a:t>
              </a:r>
              <a:endParaRPr lang="en-IN" sz="900" dirty="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32BC606-8C9E-4C16-9C06-3E11CD7508DA}"/>
                </a:ext>
              </a:extLst>
            </p:cNvPr>
            <p:cNvSpPr/>
            <p:nvPr/>
          </p:nvSpPr>
          <p:spPr>
            <a:xfrm>
              <a:off x="4160812" y="5188630"/>
              <a:ext cx="141449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&lt;&gt; Bot </a:t>
              </a:r>
            </a:p>
            <a:p>
              <a:pPr algn="ctr"/>
              <a:r>
                <a:rPr lang="en-US" sz="900" dirty="0"/>
                <a:t>In call guidance steps</a:t>
              </a:r>
              <a:endParaRPr lang="en-IN" sz="900" dirty="0"/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A72D03E1-E084-4000-8290-23829E945CED}"/>
                </a:ext>
              </a:extLst>
            </p:cNvPr>
            <p:cNvSpPr/>
            <p:nvPr/>
          </p:nvSpPr>
          <p:spPr>
            <a:xfrm>
              <a:off x="8469444" y="3504864"/>
              <a:ext cx="1922038" cy="674557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ompletes the task and provides guidance to agent </a:t>
              </a:r>
              <a:endParaRPr lang="en-IN" sz="900" dirty="0"/>
            </a:p>
          </p:txBody>
        </p:sp>
        <p:sp>
          <p:nvSpPr>
            <p:cNvPr id="63" name="Arrow: Left-Right 62">
              <a:extLst>
                <a:ext uri="{FF2B5EF4-FFF2-40B4-BE49-F238E27FC236}">
                  <a16:creationId xmlns:a16="http://schemas.microsoft.com/office/drawing/2014/main" id="{C9B7C1C1-BD1B-4684-9035-0085B75A67F3}"/>
                </a:ext>
              </a:extLst>
            </p:cNvPr>
            <p:cNvSpPr/>
            <p:nvPr/>
          </p:nvSpPr>
          <p:spPr>
            <a:xfrm>
              <a:off x="7647577" y="3618326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8DE88CF3-6186-4048-A488-0CD5B32D1488}"/>
                </a:ext>
              </a:extLst>
            </p:cNvPr>
            <p:cNvSpPr/>
            <p:nvPr/>
          </p:nvSpPr>
          <p:spPr>
            <a:xfrm>
              <a:off x="2764638" y="2661448"/>
              <a:ext cx="1132694" cy="350225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aptures IVR inputs </a:t>
              </a:r>
              <a:endParaRPr lang="en-IN" sz="900" dirty="0"/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E1CD8F03-244F-4EFF-AAA4-9178CBC31C36}"/>
                </a:ext>
              </a:extLst>
            </p:cNvPr>
            <p:cNvCxnSpPr>
              <a:cxnSpLocks/>
              <a:stCxn id="61" idx="3"/>
              <a:endCxn id="59" idx="1"/>
            </p:cNvCxnSpPr>
            <p:nvPr/>
          </p:nvCxnSpPr>
          <p:spPr>
            <a:xfrm flipV="1">
              <a:off x="5575303" y="5353090"/>
              <a:ext cx="421613" cy="172819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BEB58183-F6A6-42E1-A739-1A7E3C5CB6CA}"/>
                </a:ext>
              </a:extLst>
            </p:cNvPr>
            <p:cNvCxnSpPr>
              <a:cxnSpLocks/>
              <a:stCxn id="61" idx="3"/>
              <a:endCxn id="60" idx="1"/>
            </p:cNvCxnSpPr>
            <p:nvPr/>
          </p:nvCxnSpPr>
          <p:spPr>
            <a:xfrm>
              <a:off x="5575303" y="5525909"/>
              <a:ext cx="421613" cy="232387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7A0943CA-2B2F-4BE0-BF70-B90A8A2CC956}"/>
                </a:ext>
              </a:extLst>
            </p:cNvPr>
            <p:cNvSpPr/>
            <p:nvPr/>
          </p:nvSpPr>
          <p:spPr>
            <a:xfrm>
              <a:off x="8417275" y="5190081"/>
              <a:ext cx="1963241" cy="726746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munication with target audience </a:t>
              </a:r>
            </a:p>
            <a:p>
              <a:pPr algn="ctr"/>
              <a:r>
                <a:rPr lang="en-US" sz="900" dirty="0"/>
                <a:t>Emails/SMS/Calls</a:t>
              </a:r>
              <a:endParaRPr lang="en-IN" sz="900" dirty="0"/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76B90E68-4848-4E26-AB11-2DDA4A24D2CC}"/>
                </a:ext>
              </a:extLst>
            </p:cNvPr>
            <p:cNvCxnSpPr>
              <a:cxnSpLocks/>
              <a:stCxn id="59" idx="3"/>
              <a:endCxn id="74" idx="1"/>
            </p:cNvCxnSpPr>
            <p:nvPr/>
          </p:nvCxnSpPr>
          <p:spPr>
            <a:xfrm>
              <a:off x="7960157" y="5353089"/>
              <a:ext cx="457118" cy="200365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13D2427F-DDC4-490C-B858-D79A0FC68374}"/>
                </a:ext>
              </a:extLst>
            </p:cNvPr>
            <p:cNvCxnSpPr>
              <a:cxnSpLocks/>
              <a:stCxn id="60" idx="3"/>
              <a:endCxn id="74" idx="1"/>
            </p:cNvCxnSpPr>
            <p:nvPr/>
          </p:nvCxnSpPr>
          <p:spPr>
            <a:xfrm flipV="1">
              <a:off x="7960157" y="5553455"/>
              <a:ext cx="457118" cy="20484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147F8FF-F1A8-47B9-B5E1-B2E4E374274C}"/>
                </a:ext>
              </a:extLst>
            </p:cNvPr>
            <p:cNvSpPr txBox="1"/>
            <p:nvPr/>
          </p:nvSpPr>
          <p:spPr>
            <a:xfrm>
              <a:off x="6957101" y="3009274"/>
              <a:ext cx="2592460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2. In call Guidance</a:t>
              </a:r>
              <a:endParaRPr lang="en-IN" sz="1100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29CBC04-97B3-4E26-B677-7083B748C696}"/>
                </a:ext>
              </a:extLst>
            </p:cNvPr>
            <p:cNvSpPr txBox="1"/>
            <p:nvPr/>
          </p:nvSpPr>
          <p:spPr>
            <a:xfrm>
              <a:off x="6970454" y="4666943"/>
              <a:ext cx="2579106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3. </a:t>
              </a:r>
              <a:r>
                <a:rPr lang="en-IN" sz="1100" dirty="0">
                  <a:latin typeface="Segoe UI" panose="020B0502040204020203" pitchFamily="34" charset="0"/>
                </a:rPr>
                <a:t>Post call automation</a:t>
              </a:r>
            </a:p>
          </p:txBody>
        </p: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419DFC6B-A70D-49CF-A8E3-410EEC7CE41E}"/>
                </a:ext>
              </a:extLst>
            </p:cNvPr>
            <p:cNvCxnSpPr>
              <a:cxnSpLocks/>
              <a:stCxn id="30" idx="3"/>
              <a:endCxn id="58" idx="1"/>
            </p:cNvCxnSpPr>
            <p:nvPr/>
          </p:nvCxnSpPr>
          <p:spPr>
            <a:xfrm>
              <a:off x="5667927" y="3858020"/>
              <a:ext cx="472536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A77FACD5-77FB-4A39-8C86-8E214A12AF76}"/>
                </a:ext>
              </a:extLst>
            </p:cNvPr>
            <p:cNvSpPr/>
            <p:nvPr/>
          </p:nvSpPr>
          <p:spPr>
            <a:xfrm>
              <a:off x="2764638" y="1092430"/>
              <a:ext cx="1169233" cy="509666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Intelligent Call Routing</a:t>
              </a:r>
              <a:endParaRPr lang="en-IN" sz="900" dirty="0"/>
            </a:p>
          </p:txBody>
        </p:sp>
        <p:sp>
          <p:nvSpPr>
            <p:cNvPr id="72" name="Arrow: Left-Right 71">
              <a:extLst>
                <a:ext uri="{FF2B5EF4-FFF2-40B4-BE49-F238E27FC236}">
                  <a16:creationId xmlns:a16="http://schemas.microsoft.com/office/drawing/2014/main" id="{4AD8D64F-C840-480D-8FB7-1587BA43AD06}"/>
                </a:ext>
              </a:extLst>
            </p:cNvPr>
            <p:cNvSpPr/>
            <p:nvPr/>
          </p:nvSpPr>
          <p:spPr>
            <a:xfrm>
              <a:off x="7647577" y="3882988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>
                <a:solidFill>
                  <a:schemeClr val="tx1"/>
                </a:solidFill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FB7D0122-A752-4D86-BC87-9B8DA330D937}"/>
              </a:ext>
            </a:extLst>
          </p:cNvPr>
          <p:cNvSpPr txBox="1"/>
          <p:nvPr/>
        </p:nvSpPr>
        <p:spPr>
          <a:xfrm>
            <a:off x="9958451" y="2017024"/>
            <a:ext cx="10002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/>
              <a:t>BENEFITS</a:t>
            </a:r>
            <a:endParaRPr lang="en-IN" sz="1400" b="1" dirty="0" err="1"/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AEB0E370-E630-4162-B670-98082E20537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118" name="Footer Placeholder 2">
            <a:extLst>
              <a:ext uri="{FF2B5EF4-FFF2-40B4-BE49-F238E27FC236}">
                <a16:creationId xmlns:a16="http://schemas.microsoft.com/office/drawing/2014/main" id="{2F9A37A0-6A7C-4916-8F6E-5EB359F2B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5869" y="6492674"/>
            <a:ext cx="4114800" cy="365125"/>
          </a:xfrm>
        </p:spPr>
        <p:txBody>
          <a:bodyPr/>
          <a:lstStyle/>
          <a:p>
            <a:r>
              <a:rPr lang="en-US" sz="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Confidential – Do Not Distribut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34B542F-0B71-4C11-86B0-04F27684576D}"/>
              </a:ext>
            </a:extLst>
          </p:cNvPr>
          <p:cNvSpPr txBox="1"/>
          <p:nvPr/>
        </p:nvSpPr>
        <p:spPr>
          <a:xfrm>
            <a:off x="176558" y="5937339"/>
            <a:ext cx="3467047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/>
              <a:t>*Outgoing calls may not have an IVR input</a:t>
            </a:r>
          </a:p>
          <a:p>
            <a:pPr algn="l"/>
            <a:r>
              <a:rPr lang="en-US" sz="900" dirty="0"/>
              <a:t>*In case of Automated call campaigns, usually IVR input is mostly required</a:t>
            </a:r>
            <a:endParaRPr lang="en-IN" sz="900" dirty="0" err="1"/>
          </a:p>
        </p:txBody>
      </p:sp>
    </p:spTree>
    <p:extLst>
      <p:ext uri="{BB962C8B-B14F-4D97-AF65-F5344CB8AC3E}">
        <p14:creationId xmlns:p14="http://schemas.microsoft.com/office/powerpoint/2010/main" val="3071572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8EE1FBCB-243C-4D9A-95AF-3DAE47356C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A21B61F-BE10-4F6E-8BC8-01A85E89CCD8}"/>
              </a:ext>
            </a:extLst>
          </p:cNvPr>
          <p:cNvSpPr txBox="1"/>
          <p:nvPr/>
        </p:nvSpPr>
        <p:spPr>
          <a:xfrm>
            <a:off x="255869" y="241048"/>
            <a:ext cx="112946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2. Quality Assurance, Compliance Monitoring and Insights – Bot Insight</a:t>
            </a:r>
            <a:endParaRPr lang="en-IN" sz="2400" dirty="0">
              <a:solidFill>
                <a:schemeClr val="tx2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EF8E15-995D-4787-A347-A5DAEF440B4A}"/>
              </a:ext>
            </a:extLst>
          </p:cNvPr>
          <p:cNvGrpSpPr/>
          <p:nvPr/>
        </p:nvGrpSpPr>
        <p:grpSpPr>
          <a:xfrm>
            <a:off x="313137" y="1306545"/>
            <a:ext cx="8834010" cy="3644317"/>
            <a:chOff x="411282" y="873437"/>
            <a:chExt cx="8834010" cy="3644317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EA5FB7-14F5-42FD-9F9D-84828B89F11D}"/>
                </a:ext>
              </a:extLst>
            </p:cNvPr>
            <p:cNvSpPr/>
            <p:nvPr/>
          </p:nvSpPr>
          <p:spPr>
            <a:xfrm>
              <a:off x="2028294" y="2438428"/>
              <a:ext cx="149912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fetches Call Data Records (CDR) and Call recording</a:t>
              </a:r>
              <a:endParaRPr lang="en-IN" sz="1000" dirty="0"/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A24A0B7D-7C51-4A8D-9FFC-07B7DDBDF1B2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2777855" y="1484007"/>
              <a:ext cx="0" cy="9544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36FCAE9E-72D8-4341-A2DF-F0E6F7C9792A}"/>
                </a:ext>
              </a:extLst>
            </p:cNvPr>
            <p:cNvSpPr/>
            <p:nvPr/>
          </p:nvSpPr>
          <p:spPr>
            <a:xfrm>
              <a:off x="4724689" y="2438428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processes the CDR &amp; call recording and compares it with SOP &amp; Call Scripts</a:t>
              </a:r>
              <a:endParaRPr lang="en-IN" sz="1000" dirty="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9A66CEF-01BC-4685-8440-1216C9F679EA}"/>
                </a:ext>
              </a:extLst>
            </p:cNvPr>
            <p:cNvSpPr/>
            <p:nvPr/>
          </p:nvSpPr>
          <p:spPr>
            <a:xfrm>
              <a:off x="7634514" y="2212062"/>
              <a:ext cx="1610778" cy="199424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 Bot Insights</a:t>
              </a:r>
              <a:endParaRPr lang="en-IN" sz="1200" dirty="0"/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7EFAB587-F8EB-4974-B544-6C7C9E022BA3}"/>
                </a:ext>
              </a:extLst>
            </p:cNvPr>
            <p:cNvSpPr/>
            <p:nvPr/>
          </p:nvSpPr>
          <p:spPr>
            <a:xfrm>
              <a:off x="4724689" y="3407736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dk1"/>
                  </a:solidFill>
                </a:rPr>
                <a:t>Bot generates detailed dashboards for all KPIs,</a:t>
              </a:r>
            </a:p>
            <a:p>
              <a:pPr algn="ctr"/>
              <a:r>
                <a:rPr lang="en-US" sz="1000" dirty="0"/>
                <a:t>(Call </a:t>
              </a:r>
              <a:r>
                <a:rPr lang="en-US" sz="1000" dirty="0">
                  <a:solidFill>
                    <a:schemeClr val="dk1"/>
                  </a:solidFill>
                </a:rPr>
                <a:t>wait time, AHT,  Conversation time, etc.</a:t>
              </a:r>
              <a:endParaRPr lang="en-IN" sz="1000" dirty="0">
                <a:solidFill>
                  <a:schemeClr val="dk1"/>
                </a:solidFill>
              </a:endParaRP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21B7769E-3E63-496E-AE04-A9CEF8438050}"/>
                </a:ext>
              </a:extLst>
            </p:cNvPr>
            <p:cNvSpPr/>
            <p:nvPr/>
          </p:nvSpPr>
          <p:spPr>
            <a:xfrm>
              <a:off x="4729635" y="4160662"/>
              <a:ext cx="2055829" cy="357092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Performance dashboards</a:t>
              </a:r>
              <a:endParaRPr lang="en-IN" sz="100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CEFF693-45B3-4C99-98AE-2E70B8FCEE93}"/>
                </a:ext>
              </a:extLst>
            </p:cNvPr>
            <p:cNvSpPr/>
            <p:nvPr/>
          </p:nvSpPr>
          <p:spPr>
            <a:xfrm>
              <a:off x="411282" y="873437"/>
              <a:ext cx="4733145" cy="610570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ED2EBC3-E7D1-41F2-9412-58820901BBEB}"/>
                </a:ext>
              </a:extLst>
            </p:cNvPr>
            <p:cNvSpPr/>
            <p:nvPr/>
          </p:nvSpPr>
          <p:spPr>
            <a:xfrm>
              <a:off x="657134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Incoming calls</a:t>
              </a:r>
              <a:endParaRPr lang="en-IN" sz="1050" dirty="0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19315CB-4249-48C4-BCE8-E35E967089E0}"/>
                </a:ext>
              </a:extLst>
            </p:cNvPr>
            <p:cNvSpPr/>
            <p:nvPr/>
          </p:nvSpPr>
          <p:spPr>
            <a:xfrm>
              <a:off x="3091906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Outgoing calls</a:t>
              </a:r>
              <a:endParaRPr lang="en-IN" sz="105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FB0A934-C832-4121-94CC-FAC68531588E}"/>
                </a:ext>
              </a:extLst>
            </p:cNvPr>
            <p:cNvSpPr txBox="1"/>
            <p:nvPr/>
          </p:nvSpPr>
          <p:spPr>
            <a:xfrm>
              <a:off x="2671408" y="1928014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Telephony API integration</a:t>
              </a:r>
              <a:endParaRPr lang="en-IN" sz="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A880D67-5F86-4DC7-986F-2197FDA74522}"/>
                </a:ext>
              </a:extLst>
            </p:cNvPr>
            <p:cNvSpPr txBox="1"/>
            <p:nvPr/>
          </p:nvSpPr>
          <p:spPr>
            <a:xfrm>
              <a:off x="3530147" y="2778791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Speech to Text API integration</a:t>
              </a:r>
              <a:endParaRPr lang="en-IN" sz="800" dirty="0"/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6B4A98D-417D-48D6-A755-633EA7DFA86A}"/>
                </a:ext>
              </a:extLst>
            </p:cNvPr>
            <p:cNvCxnSpPr>
              <a:cxnSpLocks/>
              <a:stCxn id="38" idx="3"/>
              <a:endCxn id="49" idx="1"/>
            </p:cNvCxnSpPr>
            <p:nvPr/>
          </p:nvCxnSpPr>
          <p:spPr>
            <a:xfrm>
              <a:off x="3527415" y="2775707"/>
              <a:ext cx="1197274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D8D76EA-7A10-48BE-BD98-FA502FC861F4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>
              <a:off x="6780518" y="2775707"/>
              <a:ext cx="853995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8B1FB686-BCFF-4C32-861F-B3DAF4763C74}"/>
                </a:ext>
              </a:extLst>
            </p:cNvPr>
            <p:cNvCxnSpPr>
              <a:cxnSpLocks/>
              <a:stCxn id="38" idx="2"/>
              <a:endCxn id="79" idx="1"/>
            </p:cNvCxnSpPr>
            <p:nvPr/>
          </p:nvCxnSpPr>
          <p:spPr>
            <a:xfrm rot="16200000" flipH="1">
              <a:off x="3435258" y="2455583"/>
              <a:ext cx="632029" cy="1946834"/>
            </a:xfrm>
            <a:prstGeom prst="bentConnector2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5BB44499-9177-4DBD-BEE1-248234923E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0518" y="3745014"/>
              <a:ext cx="853996" cy="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70C804D4-D5CC-4EE6-A6CF-C2B930EF1404}"/>
                </a:ext>
              </a:extLst>
            </p:cNvPr>
            <p:cNvSpPr/>
            <p:nvPr/>
          </p:nvSpPr>
          <p:spPr>
            <a:xfrm>
              <a:off x="4731993" y="2005346"/>
              <a:ext cx="2055829" cy="332498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QA &amp; Compliance</a:t>
              </a:r>
              <a:endParaRPr lang="en-IN" sz="1000" dirty="0"/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2064194-AAB0-4FDE-A186-B94F985CE581}"/>
              </a:ext>
            </a:extLst>
          </p:cNvPr>
          <p:cNvSpPr txBox="1"/>
          <p:nvPr/>
        </p:nvSpPr>
        <p:spPr>
          <a:xfrm>
            <a:off x="10169465" y="3022891"/>
            <a:ext cx="1530594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8" name="Graphic 77" descr="Rating 3 Star">
            <a:extLst>
              <a:ext uri="{FF2B5EF4-FFF2-40B4-BE49-F238E27FC236}">
                <a16:creationId xmlns:a16="http://schemas.microsoft.com/office/drawing/2014/main" id="{2A1FA2B3-3A01-44CA-9E55-9E53EAC6B01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33000" y="2925317"/>
            <a:ext cx="394739" cy="387598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04F689D-9FCD-4528-BFEE-BA44E1DBDF7C}"/>
              </a:ext>
            </a:extLst>
          </p:cNvPr>
          <p:cNvSpPr txBox="1"/>
          <p:nvPr/>
        </p:nvSpPr>
        <p:spPr>
          <a:xfrm>
            <a:off x="9993839" y="2533055"/>
            <a:ext cx="11397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/>
              <a:t>BENEFITS</a:t>
            </a:r>
            <a:endParaRPr lang="en-IN" sz="1600" b="1" dirty="0" err="1"/>
          </a:p>
        </p:txBody>
      </p:sp>
      <p:pic>
        <p:nvPicPr>
          <p:cNvPr id="83" name="Graphic 82">
            <a:extLst>
              <a:ext uri="{FF2B5EF4-FFF2-40B4-BE49-F238E27FC236}">
                <a16:creationId xmlns:a16="http://schemas.microsoft.com/office/drawing/2014/main" id="{33E3631F-9D61-411F-8145-C1793DD8D2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18737" y="3520705"/>
            <a:ext cx="394739" cy="230264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E2F3B17-9E4F-4AC8-B772-F8CE0A56F1EB}"/>
              </a:ext>
            </a:extLst>
          </p:cNvPr>
          <p:cNvSpPr txBox="1"/>
          <p:nvPr/>
        </p:nvSpPr>
        <p:spPr>
          <a:xfrm>
            <a:off x="10169465" y="3543504"/>
            <a:ext cx="1795120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OMATED MIS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C81699A-8A37-47A3-9D3D-9F6744A86625}"/>
              </a:ext>
            </a:extLst>
          </p:cNvPr>
          <p:cNvSpPr txBox="1"/>
          <p:nvPr/>
        </p:nvSpPr>
        <p:spPr>
          <a:xfrm>
            <a:off x="10169465" y="4018714"/>
            <a:ext cx="179512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E SOP COMPLIANCE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8" name="Picture 2" descr="Hi-Tech Distribution – Hi-tech Distribution">
            <a:extLst>
              <a:ext uri="{FF2B5EF4-FFF2-40B4-BE49-F238E27FC236}">
                <a16:creationId xmlns:a16="http://schemas.microsoft.com/office/drawing/2014/main" id="{6D9BC406-9D0F-401B-AB82-34F7677A8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5549" y="4052823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130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993734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0064380531347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utomation Anywhere">
  <a:themeElements>
    <a:clrScheme name="_Automation Anywhere Colours">
      <a:dk1>
        <a:srgbClr val="666666"/>
      </a:dk1>
      <a:lt1>
        <a:srgbClr val="FFFFFF"/>
      </a:lt1>
      <a:dk2>
        <a:srgbClr val="333333"/>
      </a:dk2>
      <a:lt2>
        <a:srgbClr val="FFFFFF"/>
      </a:lt2>
      <a:accent1>
        <a:srgbClr val="FFBC03"/>
      </a:accent1>
      <a:accent2>
        <a:srgbClr val="FF5A10"/>
      </a:accent2>
      <a:accent3>
        <a:srgbClr val="163B65"/>
      </a:accent3>
      <a:accent4>
        <a:srgbClr val="9BA837"/>
      </a:accent4>
      <a:accent5>
        <a:srgbClr val="E34426"/>
      </a:accent5>
      <a:accent6>
        <a:srgbClr val="7BA8C7"/>
      </a:accent6>
      <a:hlink>
        <a:srgbClr val="FF5A10"/>
      </a:hlink>
      <a:folHlink>
        <a:srgbClr val="7BA8C7"/>
      </a:folHlink>
    </a:clrScheme>
    <a:fontScheme name="AA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sz="2000" dirty="0" smtClean="0">
            <a:latin typeface="Museo Sans 500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eneric PPT template-Museo Sans Mediasterling - simple 1.potx" id="{4E8157FA-E4E0-4DDB-B68C-A66098239144}" vid="{CCB01FB8-FDB3-4806-A938-B028A046430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899</Words>
  <Application>Microsoft Office PowerPoint</Application>
  <PresentationFormat>Widescreen</PresentationFormat>
  <Paragraphs>126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Museo Sans 300</vt:lpstr>
      <vt:lpstr>Museo Sans 500</vt:lpstr>
      <vt:lpstr>Museo Sans 700</vt:lpstr>
      <vt:lpstr>Arial</vt:lpstr>
      <vt:lpstr>Arial Black</vt:lpstr>
      <vt:lpstr>Calibri</vt:lpstr>
      <vt:lpstr>Calibri Light</vt:lpstr>
      <vt:lpstr>Segoe UI</vt:lpstr>
      <vt:lpstr>Verdana</vt:lpstr>
      <vt:lpstr>Office Theme</vt:lpstr>
      <vt:lpstr>2_Automation Anywhere</vt:lpstr>
      <vt:lpstr>think-cell Slide</vt:lpstr>
      <vt:lpstr>PowerPoint Presentation</vt:lpstr>
      <vt:lpstr>Improve Agent Productivity/Business Continuity via Credit Card Replacement</vt:lpstr>
      <vt:lpstr>Improve Agent Productivity/Business Continuity via Credit Card Replacement</vt:lpstr>
      <vt:lpstr>Solution and Architecture Desig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teek Katoch</dc:creator>
  <cp:lastModifiedBy>Prashant Kumar</cp:lastModifiedBy>
  <cp:revision>52</cp:revision>
  <dcterms:created xsi:type="dcterms:W3CDTF">2020-05-29T18:33:14Z</dcterms:created>
  <dcterms:modified xsi:type="dcterms:W3CDTF">2020-06-01T12:38:21Z</dcterms:modified>
</cp:coreProperties>
</file>